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80" r:id="rId5"/>
    <p:sldMasterId id="2147483693" r:id="rId6"/>
  </p:sldMasterIdLst>
  <p:notesMasterIdLst>
    <p:notesMasterId r:id="rId18"/>
  </p:notesMasterIdLst>
  <p:sldIdLst>
    <p:sldId id="256" r:id="rId7"/>
    <p:sldId id="2147474458" r:id="rId8"/>
    <p:sldId id="2147474671" r:id="rId9"/>
    <p:sldId id="2147474682" r:id="rId10"/>
    <p:sldId id="2147474673" r:id="rId11"/>
    <p:sldId id="2147474683" r:id="rId12"/>
    <p:sldId id="2147474684" r:id="rId13"/>
    <p:sldId id="2147474677" r:id="rId14"/>
    <p:sldId id="2147474674" r:id="rId15"/>
    <p:sldId id="2147474675" r:id="rId16"/>
    <p:sldId id="214747468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NqdlHo2Ca245sW5EOA/HiA==" hashData="xeqm1aIsrLmtdlgNqqYg31LQkI3d5ZolXYmN1cZWjOC30fPULkpoFRMeLtb5AMhcEC8uxh9RbiPbKKctitHN8A=="/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3DEC431-49A1-FA36-3158-3BE1BAD22140}" name="LaMonte McGraw" initials="LM" userId="S::lamontev@uw.edu::2d4e354e-12fa-4ed4-950b-4f23ee06fce2" providerId="AD"/>
  <p188:author id="{CBDF7FA7-1BAF-D5F1-1F4D-3A27451A694B}" name="Jay Dahlstrom" initials="JD" userId="S::jamesd26@uw.edu::3245e832-0f25-4f37-aab2-3017b03005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006E"/>
    <a:srgbClr val="DDD9C3"/>
    <a:srgbClr val="CCC1DA"/>
    <a:srgbClr val="E6E0EC"/>
    <a:srgbClr val="D7E4BD"/>
    <a:srgbClr val="F2F2F2"/>
    <a:srgbClr val="D9D9D9"/>
    <a:srgbClr val="B3A2C7"/>
    <a:srgbClr val="4B2E83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F5CCBF-2990-4042-AE22-80E818A11B5F}" v="5" dt="2026-03-11T22:53:50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9" d="100"/>
          <a:sy n="89" d="100"/>
        </p:scale>
        <p:origin x="34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a Choto" userId="c67ca039-e970-479c-a906-a34349937577" providerId="ADAL" clId="{EDBE599F-B500-46C8-B8D4-4286E381391F}"/>
    <pc:docChg chg="undo custSel modSld">
      <pc:chgData name="Daniela Choto" userId="c67ca039-e970-479c-a906-a34349937577" providerId="ADAL" clId="{EDBE599F-B500-46C8-B8D4-4286E381391F}" dt="2026-06-09T22:37:50.095" v="159" actId="478"/>
      <pc:docMkLst>
        <pc:docMk/>
      </pc:docMkLst>
      <pc:sldChg chg="addSp delSp modSp mod">
        <pc:chgData name="Daniela Choto" userId="c67ca039-e970-479c-a906-a34349937577" providerId="ADAL" clId="{EDBE599F-B500-46C8-B8D4-4286E381391F}" dt="2026-06-09T22:37:50.095" v="159" actId="478"/>
        <pc:sldMkLst>
          <pc:docMk/>
          <pc:sldMk cId="2409876095" sldId="2147474458"/>
        </pc:sldMkLst>
        <pc:picChg chg="add del mod">
          <ac:chgData name="Daniela Choto" userId="c67ca039-e970-479c-a906-a34349937577" providerId="ADAL" clId="{EDBE599F-B500-46C8-B8D4-4286E381391F}" dt="2026-06-09T22:37:50.095" v="159" actId="478"/>
          <ac:picMkLst>
            <pc:docMk/>
            <pc:sldMk cId="2409876095" sldId="2147474458"/>
            <ac:picMk id="2" creationId="{FF39F28E-EF24-9CA5-0AA7-4A8D95A3F5F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BBF64B-9566-42B1-8D8F-0FF4B63D8AD2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F4BDB1-C3B7-43B3-A7E7-4CCCE8A99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252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57979-E0DC-4776-B366-A0DF8B76C47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8164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A8752E-F7CD-ECBA-87E4-B0BE9158FE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88A2D7D-1AAD-DEF8-9540-5490D345D9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B108B0-34FC-16E0-6A0E-C6A030A669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115018-1690-9C19-7ED8-48D3D44A32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538012-AAEC-463F-80EE-1094C7A42A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4644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0B7A2B-DD41-A4F3-965C-3EB41A197B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7B15F4-6AF5-8204-5AED-35134CCAE6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0B8B7C-4C66-0D9D-5989-DAB4BD043F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30BF08-36FA-45D3-09CF-2036E9E7CD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538012-AAEC-463F-80EE-1094C7A42A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068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470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AD6646-939C-FAA4-A659-3FF8E1772B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30154D-0DCA-D4D5-6607-CA26D271D5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1AA522-6C02-DD6C-4955-122B53F262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DCAFB2-3ED1-B84F-C416-DA7E2D954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298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253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3FE2FC-031D-0A67-0113-37153AFFF3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F68240-5194-CA1B-BBD5-104F82E5D4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9CBF32-D878-16CF-79BA-87EA9CA66C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88839D-14D6-D6AB-6F2D-8C0639F5C3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4354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7A9FD1-8536-55E8-19F9-E8D00B7416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691197-C93D-9DB4-56A2-58BD56CF9F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691895-6BE5-79DD-8049-4987FD0D2D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79EF24-48F6-B7C7-EBDD-577E3E731E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991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5BD746-03E3-8F43-1FBB-EB65252C77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5FF668-DAFF-2D00-D861-4F5D7EE3D7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1953C2-0ED8-973C-52DC-A8EF3E7814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ADBB4-B7C2-1044-BECA-0A4B7166BC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538012-AAEC-463F-80EE-1094C7A42A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83563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180C9E-1BC2-BD64-BA13-30ABCCD95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3AC49B-97B6-BF16-4AA3-6747CD99A2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B638D4-D17B-1A50-82B7-4F3AB6C0D9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6FB71C-B53E-FECE-21CF-8B56A29E6E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538012-AAEC-463F-80EE-1094C7A42A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8358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3.sv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3257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617200" y="6487584"/>
            <a:ext cx="1422400" cy="243417"/>
          </a:xfrm>
        </p:spPr>
        <p:txBody>
          <a:bodyPr/>
          <a:lstStyle>
            <a:lvl1pPr algn="r">
              <a:defRPr/>
            </a:lvl1pPr>
          </a:lstStyle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0800" y="6487584"/>
            <a:ext cx="5588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2703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617200" y="6487584"/>
            <a:ext cx="1422400" cy="243417"/>
          </a:xfrm>
        </p:spPr>
        <p:txBody>
          <a:bodyPr/>
          <a:lstStyle>
            <a:lvl1pPr algn="r">
              <a:defRPr/>
            </a:lvl1pPr>
          </a:lstStyle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0800" y="6487584"/>
            <a:ext cx="5588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3B7AE97-341D-1807-4B8A-A4FDF6D2598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92474045"/>
              </p:ext>
            </p:extLst>
          </p:nvPr>
        </p:nvGraphicFramePr>
        <p:xfrm>
          <a:off x="965200" y="1193800"/>
          <a:ext cx="10464800" cy="7416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8100">
                  <a:extLst>
                    <a:ext uri="{9D8B030D-6E8A-4147-A177-3AD203B41FA5}">
                      <a16:colId xmlns:a16="http://schemas.microsoft.com/office/drawing/2014/main" val="2229403083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1176328959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1936914556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1278892718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2552406078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2806854470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1054408706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2331227224"/>
                    </a:ext>
                  </a:extLst>
                </a:gridCol>
              </a:tblGrid>
              <a:tr h="247227">
                <a:tc gridSpan="2">
                  <a:txBody>
                    <a:bodyPr/>
                    <a:lstStyle/>
                    <a:p>
                      <a:r>
                        <a:rPr lang="en-US" sz="800"/>
                        <a:t>2024</a:t>
                      </a:r>
                    </a:p>
                  </a:txBody>
                  <a:tcPr marL="60960" marR="60960" marT="30480" marB="3048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800"/>
                        <a:t>2025</a:t>
                      </a:r>
                    </a:p>
                  </a:txBody>
                  <a:tcPr marL="60960" marR="60960" marT="30480" marB="3048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800"/>
                        <a:t>2026</a:t>
                      </a:r>
                    </a:p>
                  </a:txBody>
                  <a:tcPr marL="60960" marR="60960" marT="30480" marB="3048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222320"/>
                  </a:ext>
                </a:extLst>
              </a:tr>
              <a:tr h="247227"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3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4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1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2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3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4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1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2</a:t>
                      </a:r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1128769747"/>
                  </a:ext>
                </a:extLst>
              </a:tr>
              <a:tr h="247227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2877054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1009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9ED89D9-6DC9-6E97-F64B-D6F3F0469F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397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ED89D9-6DC9-6E97-F64B-D6F3F0469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utoShape 2">
            <a:extLst>
              <a:ext uri="{FF2B5EF4-FFF2-40B4-BE49-F238E27FC236}">
                <a16:creationId xmlns:a16="http://schemas.microsoft.com/office/drawing/2014/main" id="{FF26EC11-811F-4A05-B7AE-9E874FA06DD3}"/>
              </a:ext>
            </a:extLst>
          </p:cNvPr>
          <p:cNvSpPr/>
          <p:nvPr userDrawn="1"/>
        </p:nvSpPr>
        <p:spPr>
          <a:xfrm>
            <a:off x="-9237" y="3202709"/>
            <a:ext cx="12192000" cy="3657600"/>
          </a:xfrm>
          <a:prstGeom prst="rect">
            <a:avLst/>
          </a:prstGeom>
          <a:solidFill>
            <a:srgbClr val="32006E"/>
          </a:solidFill>
        </p:spPr>
        <p:txBody>
          <a:bodyPr/>
          <a:lstStyle/>
          <a:p>
            <a:endParaRPr lang="en-US" sz="120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66316AB4-20AA-BC9B-134C-82174DA51140}"/>
              </a:ext>
            </a:extLst>
          </p:cNvPr>
          <p:cNvSpPr/>
          <p:nvPr userDrawn="1"/>
        </p:nvSpPr>
        <p:spPr>
          <a:xfrm>
            <a:off x="10695952" y="5847224"/>
            <a:ext cx="1496048" cy="1009153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7" name="Picture 6" descr="Bar_RtAngle_7502_RGB.png">
            <a:extLst>
              <a:ext uri="{FF2B5EF4-FFF2-40B4-BE49-F238E27FC236}">
                <a16:creationId xmlns:a16="http://schemas.microsoft.com/office/drawing/2014/main" id="{8D668986-9EA4-BED0-83F3-951F11B5DD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283" y="3124200"/>
            <a:ext cx="2667995" cy="166375"/>
          </a:xfrm>
          <a:prstGeom prst="rect">
            <a:avLst/>
          </a:prstGeom>
        </p:spPr>
      </p:pic>
      <p:pic>
        <p:nvPicPr>
          <p:cNvPr id="8" name="Picture 7" descr="Bar_RtAngle_7502_RGB.png">
            <a:extLst>
              <a:ext uri="{FF2B5EF4-FFF2-40B4-BE49-F238E27FC236}">
                <a16:creationId xmlns:a16="http://schemas.microsoft.com/office/drawing/2014/main" id="{C375094C-DCA2-6D97-2BB5-2087E2166C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39241" y="3124200"/>
            <a:ext cx="2667995" cy="16637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1600" y="6527800"/>
            <a:ext cx="4572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0579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0283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6953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6207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1983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er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C5A0927-B3F0-8E6A-04B5-655120DD8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1003"/>
            <a:ext cx="11277600" cy="60959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24 PT.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AA99A3-F3A9-EC2F-FEFD-5D2A8CE25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035" y="997528"/>
            <a:ext cx="1471708" cy="12848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C981914-7401-BE90-F72B-9038B26280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505" y="6184126"/>
            <a:ext cx="1000807" cy="67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34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4">
          <p15:clr>
            <a:srgbClr val="FBAE40"/>
          </p15:clr>
        </p15:guide>
        <p15:guide id="2" pos="216">
          <p15:clr>
            <a:srgbClr val="FBAE40"/>
          </p15:clr>
        </p15:guide>
        <p15:guide id="3" pos="55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1201" y="6354234"/>
            <a:ext cx="3386667" cy="2667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00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42507" y="845229"/>
            <a:ext cx="10515600" cy="549275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Garamond" charset="0"/>
                <a:ea typeface="Garamond" charset="0"/>
                <a:cs typeface="Garamon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742508" y="483332"/>
            <a:ext cx="4645246" cy="36189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100" b="1">
                <a:solidFill>
                  <a:schemeClr val="bg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1384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3109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6"/>
            <a:ext cx="10912883" cy="5695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7" y="1719586"/>
            <a:ext cx="10929485" cy="4410745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95678" y="1198011"/>
            <a:ext cx="10912883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4" y="6487458"/>
            <a:ext cx="3233727" cy="16337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Bar_RtAngle_7502_RGB.png">
            <a:extLst>
              <a:ext uri="{FF2B5EF4-FFF2-40B4-BE49-F238E27FC236}">
                <a16:creationId xmlns:a16="http://schemas.microsoft.com/office/drawing/2014/main" id="{406E625B-59E0-A69F-6C44-1510BA89F2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895678" y="943731"/>
            <a:ext cx="5893723" cy="107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2878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6" y="1167124"/>
            <a:ext cx="9296400" cy="264175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5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8" name="Picture 7" descr="W Logo_Purple_2685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0852" y="5949410"/>
            <a:ext cx="1828800" cy="923544"/>
          </a:xfrm>
          <a:prstGeom prst="rect">
            <a:avLst/>
          </a:prstGeom>
        </p:spPr>
      </p:pic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056" y="6487458"/>
            <a:ext cx="3233727" cy="163374"/>
          </a:xfrm>
          <a:prstGeom prst="rect">
            <a:avLst/>
          </a:prstGeom>
        </p:spPr>
      </p:pic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87" y="4006086"/>
            <a:ext cx="3045737" cy="112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7737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237809"/>
            <a:ext cx="10912883" cy="5036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7" y="1597899"/>
            <a:ext cx="10929485" cy="4532429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79075" y="1060648"/>
            <a:ext cx="10864193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4" y="6487458"/>
            <a:ext cx="3233727" cy="163374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85" y="867509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6404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6"/>
            <a:ext cx="10912883" cy="41860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3" y="1154097"/>
            <a:ext cx="10928280" cy="4598125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 descr="W Logo_Purple_2685_HEX.png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0852" y="5949410"/>
            <a:ext cx="1828800" cy="923544"/>
          </a:xfrm>
          <a:prstGeom prst="rect">
            <a:avLst/>
          </a:prstGeom>
        </p:spPr>
      </p:pic>
      <p:pic>
        <p:nvPicPr>
          <p:cNvPr id="7" name="Picture 6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879074" y="682408"/>
            <a:ext cx="5893723" cy="10771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7403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22351" y="1736725"/>
            <a:ext cx="10695516" cy="443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 i="1" baseline="0">
                <a:solidFill>
                  <a:srgbClr val="999999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0"/>
            <a:ext cx="10912883" cy="9919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pic>
        <p:nvPicPr>
          <p:cNvPr id="7" name="Picture 6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4144" y="6487458"/>
            <a:ext cx="3233727" cy="163374"/>
          </a:xfrm>
          <a:prstGeom prst="rect">
            <a:avLst/>
          </a:prstGeom>
        </p:spPr>
      </p:pic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1437806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525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0"/>
            <a:ext cx="10912883" cy="9919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FFFFFF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7" y="2320240"/>
            <a:ext cx="10929485" cy="3810086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95678" y="1730668"/>
            <a:ext cx="10912883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rgbClr val="FFFFFF"/>
                </a:solidFill>
                <a:latin typeface="Uni Sans Regular"/>
                <a:cs typeface="Uni Sans Regular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	, 24 PT.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1202" y="6354234"/>
            <a:ext cx="3386667" cy="266700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1437806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405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UW_W Logo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753" y="5945854"/>
            <a:ext cx="1828800" cy="923544"/>
          </a:xfrm>
          <a:prstGeom prst="rect">
            <a:avLst/>
          </a:prstGeom>
        </p:spPr>
      </p:pic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0"/>
            <a:ext cx="10912883" cy="9919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FFFFFF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4" y="1736727"/>
            <a:ext cx="10769275" cy="4015497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Bulleted content here (Open Sans Light, 24 pt.)</a:t>
            </a:r>
          </a:p>
          <a:p>
            <a:pPr lvl="1"/>
            <a:r>
              <a:rPr lang="en-US"/>
              <a:t>Second level (Open Sans Light, 20)</a:t>
            </a:r>
          </a:p>
          <a:p>
            <a:pPr lvl="2"/>
            <a:r>
              <a:rPr lang="en-US"/>
              <a:t>Third level (Open Sans Light, 18)</a:t>
            </a:r>
          </a:p>
          <a:p>
            <a:pPr lvl="3"/>
            <a:r>
              <a:rPr lang="en-US"/>
              <a:t>Fourth level (Open Sans Light, 16)</a:t>
            </a:r>
          </a:p>
          <a:p>
            <a:pPr lvl="4"/>
            <a:r>
              <a:rPr lang="en-US"/>
              <a:t>Fifth level (Open Sans Light, 14)</a:t>
            </a:r>
          </a:p>
        </p:txBody>
      </p:sp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1437806"/>
            <a:ext cx="1810912" cy="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744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Graphic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1202" y="6354234"/>
            <a:ext cx="3386667" cy="26670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22351" y="1736725"/>
            <a:ext cx="10695516" cy="443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0"/>
            <a:ext cx="10912883" cy="9919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FFFFFF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1437806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186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2043" y="1818013"/>
            <a:ext cx="1471708" cy="128483"/>
          </a:xfrm>
          <a:prstGeom prst="rect">
            <a:avLst/>
          </a:prstGeom>
        </p:spPr>
      </p:pic>
      <p:pic>
        <p:nvPicPr>
          <p:cNvPr id="6" name="Picture 5" descr="W Logo_Purple_2685_HE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553" y="5626608"/>
            <a:ext cx="1828800" cy="1231392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233" y="2307558"/>
            <a:ext cx="10929485" cy="3154535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0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1">
              <a:buSzPct val="100000"/>
              <a:buFont typeface="Lucida Grande"/>
              <a:buChar char="&gt;"/>
              <a:defRPr sz="18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6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1">
              <a:buFont typeface="Lucida Grande"/>
              <a:buChar char="&gt;"/>
              <a:defRPr sz="1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3834" y="494170"/>
            <a:ext cx="10912883" cy="1325033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</p:spTree>
    <p:extLst>
      <p:ext uri="{BB962C8B-B14F-4D97-AF65-F5344CB8AC3E}">
        <p14:creationId xmlns:p14="http://schemas.microsoft.com/office/powerpoint/2010/main" val="2497554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0A638-C33A-4941-A3C8-F4F79B265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731A9B-BE8B-4AEC-9007-FA5B7983E4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85716E-1B4F-4938-903D-53E827908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093829-9F9D-4A75-BBC8-79D7E0E36E7A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91FB0-1979-4AB9-8426-FFF42C1442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3A6F10-AAEF-4E93-AF9E-9D04286B4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5236D-0F46-41E4-94B8-08F8408C8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906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7520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2706AFD-426B-CBA0-A4F0-24AB0055227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714750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Place image here and add alt text under Review &gt; Check Accessibility &gt; Al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95675" y="4392519"/>
            <a:ext cx="10646844" cy="1366891"/>
          </a:xfrm>
          <a:prstGeom prst="rect">
            <a:avLst/>
          </a:prstGeom>
        </p:spPr>
        <p:txBody>
          <a:bodyPr anchor="b"/>
          <a:lstStyle>
            <a:lvl1pPr algn="l">
              <a:defRPr sz="40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BRAND POWERPOINT TEMPLATE 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B0D0A70-D6D3-A71A-42EB-4FEA9FDF09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45634" y="6460075"/>
            <a:ext cx="3213100" cy="161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95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52">
            <a:extLst>
              <a:ext uri="{FF2B5EF4-FFF2-40B4-BE49-F238E27FC236}">
                <a16:creationId xmlns:a16="http://schemas.microsoft.com/office/drawing/2014/main" id="{EB40FF54-42BA-F6A7-D32A-75F3D51769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-1"/>
            <a:ext cx="12192000" cy="6858000"/>
          </a:xfrm>
          <a:custGeom>
            <a:avLst/>
            <a:gdLst>
              <a:gd name="connsiteX0" fmla="*/ 1950338 w 9144000"/>
              <a:gd name="connsiteY0" fmla="*/ 6312915 h 6858000"/>
              <a:gd name="connsiteX1" fmla="*/ 1966975 w 9144000"/>
              <a:gd name="connsiteY1" fmla="*/ 6335902 h 6858000"/>
              <a:gd name="connsiteX2" fmla="*/ 1944242 w 9144000"/>
              <a:gd name="connsiteY2" fmla="*/ 6388353 h 6858000"/>
              <a:gd name="connsiteX3" fmla="*/ 1937638 w 9144000"/>
              <a:gd name="connsiteY3" fmla="*/ 6389750 h 6858000"/>
              <a:gd name="connsiteX4" fmla="*/ 1921001 w 9144000"/>
              <a:gd name="connsiteY4" fmla="*/ 6362826 h 6858000"/>
              <a:gd name="connsiteX5" fmla="*/ 1943226 w 9144000"/>
              <a:gd name="connsiteY5" fmla="*/ 6314566 h 6858000"/>
              <a:gd name="connsiteX6" fmla="*/ 1950084 w 9144000"/>
              <a:gd name="connsiteY6" fmla="*/ 6313042 h 6858000"/>
              <a:gd name="connsiteX7" fmla="*/ 1956816 w 9144000"/>
              <a:gd name="connsiteY7" fmla="*/ 6305550 h 6858000"/>
              <a:gd name="connsiteX8" fmla="*/ 1934083 w 9144000"/>
              <a:gd name="connsiteY8" fmla="*/ 6312789 h 6858000"/>
              <a:gd name="connsiteX9" fmla="*/ 1903857 w 9144000"/>
              <a:gd name="connsiteY9" fmla="*/ 6367653 h 6858000"/>
              <a:gd name="connsiteX10" fmla="*/ 1930400 w 9144000"/>
              <a:gd name="connsiteY10" fmla="*/ 6397371 h 6858000"/>
              <a:gd name="connsiteX11" fmla="*/ 1961642 w 9144000"/>
              <a:gd name="connsiteY11" fmla="*/ 6384036 h 6858000"/>
              <a:gd name="connsiteX12" fmla="*/ 1961769 w 9144000"/>
              <a:gd name="connsiteY12" fmla="*/ 6384036 h 6858000"/>
              <a:gd name="connsiteX13" fmla="*/ 1983740 w 9144000"/>
              <a:gd name="connsiteY13" fmla="*/ 6333617 h 6858000"/>
              <a:gd name="connsiteX14" fmla="*/ 1956816 w 9144000"/>
              <a:gd name="connsiteY14" fmla="*/ 6305550 h 6858000"/>
              <a:gd name="connsiteX15" fmla="*/ 2431414 w 9144000"/>
              <a:gd name="connsiteY15" fmla="*/ 6284976 h 6858000"/>
              <a:gd name="connsiteX16" fmla="*/ 2451861 w 9144000"/>
              <a:gd name="connsiteY16" fmla="*/ 6343904 h 6858000"/>
              <a:gd name="connsiteX17" fmla="*/ 2410205 w 9144000"/>
              <a:gd name="connsiteY17" fmla="*/ 6343904 h 6858000"/>
              <a:gd name="connsiteX18" fmla="*/ 1264158 w 9144000"/>
              <a:gd name="connsiteY18" fmla="*/ 6263894 h 6858000"/>
              <a:gd name="connsiteX19" fmla="*/ 1282319 w 9144000"/>
              <a:gd name="connsiteY19" fmla="*/ 6263894 h 6858000"/>
              <a:gd name="connsiteX20" fmla="*/ 1310894 w 9144000"/>
              <a:gd name="connsiteY20" fmla="*/ 6292342 h 6858000"/>
              <a:gd name="connsiteX21" fmla="*/ 1282319 w 9144000"/>
              <a:gd name="connsiteY21" fmla="*/ 6318631 h 6858000"/>
              <a:gd name="connsiteX22" fmla="*/ 1264158 w 9144000"/>
              <a:gd name="connsiteY22" fmla="*/ 6318631 h 6858000"/>
              <a:gd name="connsiteX23" fmla="*/ 3364103 w 9144000"/>
              <a:gd name="connsiteY23" fmla="*/ 6261100 h 6858000"/>
              <a:gd name="connsiteX24" fmla="*/ 3404489 w 9144000"/>
              <a:gd name="connsiteY24" fmla="*/ 6324473 h 6858000"/>
              <a:gd name="connsiteX25" fmla="*/ 3364103 w 9144000"/>
              <a:gd name="connsiteY25" fmla="*/ 6387846 h 6858000"/>
              <a:gd name="connsiteX26" fmla="*/ 3323844 w 9144000"/>
              <a:gd name="connsiteY26" fmla="*/ 6324473 h 6858000"/>
              <a:gd name="connsiteX27" fmla="*/ 3364103 w 9144000"/>
              <a:gd name="connsiteY27" fmla="*/ 6261100 h 6858000"/>
              <a:gd name="connsiteX28" fmla="*/ 1499108 w 9144000"/>
              <a:gd name="connsiteY28" fmla="*/ 6253480 h 6858000"/>
              <a:gd name="connsiteX29" fmla="*/ 1511046 w 9144000"/>
              <a:gd name="connsiteY29" fmla="*/ 6264783 h 6858000"/>
              <a:gd name="connsiteX30" fmla="*/ 1511046 w 9144000"/>
              <a:gd name="connsiteY30" fmla="*/ 6384290 h 6858000"/>
              <a:gd name="connsiteX31" fmla="*/ 1499108 w 9144000"/>
              <a:gd name="connsiteY31" fmla="*/ 6395593 h 6858000"/>
              <a:gd name="connsiteX32" fmla="*/ 1539367 w 9144000"/>
              <a:gd name="connsiteY32" fmla="*/ 6395593 h 6858000"/>
              <a:gd name="connsiteX33" fmla="*/ 1527429 w 9144000"/>
              <a:gd name="connsiteY33" fmla="*/ 6384290 h 6858000"/>
              <a:gd name="connsiteX34" fmla="*/ 1527429 w 9144000"/>
              <a:gd name="connsiteY34" fmla="*/ 6264783 h 6858000"/>
              <a:gd name="connsiteX35" fmla="*/ 1539367 w 9144000"/>
              <a:gd name="connsiteY35" fmla="*/ 6253480 h 6858000"/>
              <a:gd name="connsiteX36" fmla="*/ 1235964 w 9144000"/>
              <a:gd name="connsiteY36" fmla="*/ 6253480 h 6858000"/>
              <a:gd name="connsiteX37" fmla="*/ 1247648 w 9144000"/>
              <a:gd name="connsiteY37" fmla="*/ 6264783 h 6858000"/>
              <a:gd name="connsiteX38" fmla="*/ 1247648 w 9144000"/>
              <a:gd name="connsiteY38" fmla="*/ 6384290 h 6858000"/>
              <a:gd name="connsiteX39" fmla="*/ 1235964 w 9144000"/>
              <a:gd name="connsiteY39" fmla="*/ 6395593 h 6858000"/>
              <a:gd name="connsiteX40" fmla="*/ 1275969 w 9144000"/>
              <a:gd name="connsiteY40" fmla="*/ 6395593 h 6858000"/>
              <a:gd name="connsiteX41" fmla="*/ 1264031 w 9144000"/>
              <a:gd name="connsiteY41" fmla="*/ 6384290 h 6858000"/>
              <a:gd name="connsiteX42" fmla="*/ 1264031 w 9144000"/>
              <a:gd name="connsiteY42" fmla="*/ 6329426 h 6858000"/>
              <a:gd name="connsiteX43" fmla="*/ 1286510 w 9144000"/>
              <a:gd name="connsiteY43" fmla="*/ 6329426 h 6858000"/>
              <a:gd name="connsiteX44" fmla="*/ 1322705 w 9144000"/>
              <a:gd name="connsiteY44" fmla="*/ 6395720 h 6858000"/>
              <a:gd name="connsiteX45" fmla="*/ 1322705 w 9144000"/>
              <a:gd name="connsiteY45" fmla="*/ 6395847 h 6858000"/>
              <a:gd name="connsiteX46" fmla="*/ 1347470 w 9144000"/>
              <a:gd name="connsiteY46" fmla="*/ 6395847 h 6858000"/>
              <a:gd name="connsiteX47" fmla="*/ 1335786 w 9144000"/>
              <a:gd name="connsiteY47" fmla="*/ 6384544 h 6858000"/>
              <a:gd name="connsiteX48" fmla="*/ 1302385 w 9144000"/>
              <a:gd name="connsiteY48" fmla="*/ 6326124 h 6858000"/>
              <a:gd name="connsiteX49" fmla="*/ 1330452 w 9144000"/>
              <a:gd name="connsiteY49" fmla="*/ 6292850 h 6858000"/>
              <a:gd name="connsiteX50" fmla="*/ 1282192 w 9144000"/>
              <a:gd name="connsiteY50" fmla="*/ 6253480 h 6858000"/>
              <a:gd name="connsiteX51" fmla="*/ 1107821 w 9144000"/>
              <a:gd name="connsiteY51" fmla="*/ 6253480 h 6858000"/>
              <a:gd name="connsiteX52" fmla="*/ 1119505 w 9144000"/>
              <a:gd name="connsiteY52" fmla="*/ 6264783 h 6858000"/>
              <a:gd name="connsiteX53" fmla="*/ 1119505 w 9144000"/>
              <a:gd name="connsiteY53" fmla="*/ 6384290 h 6858000"/>
              <a:gd name="connsiteX54" fmla="*/ 1107821 w 9144000"/>
              <a:gd name="connsiteY54" fmla="*/ 6395593 h 6858000"/>
              <a:gd name="connsiteX55" fmla="*/ 1197102 w 9144000"/>
              <a:gd name="connsiteY55" fmla="*/ 6395593 h 6858000"/>
              <a:gd name="connsiteX56" fmla="*/ 1197102 w 9144000"/>
              <a:gd name="connsiteY56" fmla="*/ 6369558 h 6858000"/>
              <a:gd name="connsiteX57" fmla="*/ 1181100 w 9144000"/>
              <a:gd name="connsiteY57" fmla="*/ 6384925 h 6858000"/>
              <a:gd name="connsiteX58" fmla="*/ 1135761 w 9144000"/>
              <a:gd name="connsiteY58" fmla="*/ 6384925 h 6858000"/>
              <a:gd name="connsiteX59" fmla="*/ 1135761 w 9144000"/>
              <a:gd name="connsiteY59" fmla="*/ 6325235 h 6858000"/>
              <a:gd name="connsiteX60" fmla="*/ 1169416 w 9144000"/>
              <a:gd name="connsiteY60" fmla="*/ 6325235 h 6858000"/>
              <a:gd name="connsiteX61" fmla="*/ 1181354 w 9144000"/>
              <a:gd name="connsiteY61" fmla="*/ 6336538 h 6858000"/>
              <a:gd name="connsiteX62" fmla="*/ 1181354 w 9144000"/>
              <a:gd name="connsiteY62" fmla="*/ 6303264 h 6858000"/>
              <a:gd name="connsiteX63" fmla="*/ 1169416 w 9144000"/>
              <a:gd name="connsiteY63" fmla="*/ 6314567 h 6858000"/>
              <a:gd name="connsiteX64" fmla="*/ 1135761 w 9144000"/>
              <a:gd name="connsiteY64" fmla="*/ 6314567 h 6858000"/>
              <a:gd name="connsiteX65" fmla="*/ 1135761 w 9144000"/>
              <a:gd name="connsiteY65" fmla="*/ 6263894 h 6858000"/>
              <a:gd name="connsiteX66" fmla="*/ 1181100 w 9144000"/>
              <a:gd name="connsiteY66" fmla="*/ 6263894 h 6858000"/>
              <a:gd name="connsiteX67" fmla="*/ 1197102 w 9144000"/>
              <a:gd name="connsiteY67" fmla="*/ 6279134 h 6858000"/>
              <a:gd name="connsiteX68" fmla="*/ 1197102 w 9144000"/>
              <a:gd name="connsiteY68" fmla="*/ 6253480 h 6858000"/>
              <a:gd name="connsiteX69" fmla="*/ 961263 w 9144000"/>
              <a:gd name="connsiteY69" fmla="*/ 6253480 h 6858000"/>
              <a:gd name="connsiteX70" fmla="*/ 973455 w 9144000"/>
              <a:gd name="connsiteY70" fmla="*/ 6264783 h 6858000"/>
              <a:gd name="connsiteX71" fmla="*/ 1015492 w 9144000"/>
              <a:gd name="connsiteY71" fmla="*/ 6395720 h 6858000"/>
              <a:gd name="connsiteX72" fmla="*/ 1023112 w 9144000"/>
              <a:gd name="connsiteY72" fmla="*/ 6395720 h 6858000"/>
              <a:gd name="connsiteX73" fmla="*/ 1066419 w 9144000"/>
              <a:gd name="connsiteY73" fmla="*/ 6264783 h 6858000"/>
              <a:gd name="connsiteX74" fmla="*/ 1066165 w 9144000"/>
              <a:gd name="connsiteY74" fmla="*/ 6264783 h 6858000"/>
              <a:gd name="connsiteX75" fmla="*/ 1078357 w 9144000"/>
              <a:gd name="connsiteY75" fmla="*/ 6253480 h 6858000"/>
              <a:gd name="connsiteX76" fmla="*/ 1042416 w 9144000"/>
              <a:gd name="connsiteY76" fmla="*/ 6253480 h 6858000"/>
              <a:gd name="connsiteX77" fmla="*/ 1054100 w 9144000"/>
              <a:gd name="connsiteY77" fmla="*/ 6264529 h 6858000"/>
              <a:gd name="connsiteX78" fmla="*/ 1022477 w 9144000"/>
              <a:gd name="connsiteY78" fmla="*/ 6362954 h 6858000"/>
              <a:gd name="connsiteX79" fmla="*/ 991870 w 9144000"/>
              <a:gd name="connsiteY79" fmla="*/ 6264529 h 6858000"/>
              <a:gd name="connsiteX80" fmla="*/ 1003554 w 9144000"/>
              <a:gd name="connsiteY80" fmla="*/ 6253480 h 6858000"/>
              <a:gd name="connsiteX81" fmla="*/ 887730 w 9144000"/>
              <a:gd name="connsiteY81" fmla="*/ 6253480 h 6858000"/>
              <a:gd name="connsiteX82" fmla="*/ 899668 w 9144000"/>
              <a:gd name="connsiteY82" fmla="*/ 6264783 h 6858000"/>
              <a:gd name="connsiteX83" fmla="*/ 899668 w 9144000"/>
              <a:gd name="connsiteY83" fmla="*/ 6384290 h 6858000"/>
              <a:gd name="connsiteX84" fmla="*/ 887730 w 9144000"/>
              <a:gd name="connsiteY84" fmla="*/ 6395593 h 6858000"/>
              <a:gd name="connsiteX85" fmla="*/ 927989 w 9144000"/>
              <a:gd name="connsiteY85" fmla="*/ 6395593 h 6858000"/>
              <a:gd name="connsiteX86" fmla="*/ 916051 w 9144000"/>
              <a:gd name="connsiteY86" fmla="*/ 6384290 h 6858000"/>
              <a:gd name="connsiteX87" fmla="*/ 916051 w 9144000"/>
              <a:gd name="connsiteY87" fmla="*/ 6264783 h 6858000"/>
              <a:gd name="connsiteX88" fmla="*/ 927989 w 9144000"/>
              <a:gd name="connsiteY88" fmla="*/ 6253480 h 6858000"/>
              <a:gd name="connsiteX89" fmla="*/ 568071 w 9144000"/>
              <a:gd name="connsiteY89" fmla="*/ 6253480 h 6858000"/>
              <a:gd name="connsiteX90" fmla="*/ 581025 w 9144000"/>
              <a:gd name="connsiteY90" fmla="*/ 6265672 h 6858000"/>
              <a:gd name="connsiteX91" fmla="*/ 581025 w 9144000"/>
              <a:gd name="connsiteY91" fmla="*/ 6357493 h 6858000"/>
              <a:gd name="connsiteX92" fmla="*/ 627253 w 9144000"/>
              <a:gd name="connsiteY92" fmla="*/ 6398768 h 6858000"/>
              <a:gd name="connsiteX93" fmla="*/ 675513 w 9144000"/>
              <a:gd name="connsiteY93" fmla="*/ 6357493 h 6858000"/>
              <a:gd name="connsiteX94" fmla="*/ 675513 w 9144000"/>
              <a:gd name="connsiteY94" fmla="*/ 6265672 h 6858000"/>
              <a:gd name="connsiteX95" fmla="*/ 675767 w 9144000"/>
              <a:gd name="connsiteY95" fmla="*/ 6265672 h 6858000"/>
              <a:gd name="connsiteX96" fmla="*/ 688340 w 9144000"/>
              <a:gd name="connsiteY96" fmla="*/ 6253480 h 6858000"/>
              <a:gd name="connsiteX97" fmla="*/ 649478 w 9144000"/>
              <a:gd name="connsiteY97" fmla="*/ 6253480 h 6858000"/>
              <a:gd name="connsiteX98" fmla="*/ 662305 w 9144000"/>
              <a:gd name="connsiteY98" fmla="*/ 6265672 h 6858000"/>
              <a:gd name="connsiteX99" fmla="*/ 662305 w 9144000"/>
              <a:gd name="connsiteY99" fmla="*/ 6357493 h 6858000"/>
              <a:gd name="connsiteX100" fmla="*/ 631444 w 9144000"/>
              <a:gd name="connsiteY100" fmla="*/ 6386957 h 6858000"/>
              <a:gd name="connsiteX101" fmla="*/ 598551 w 9144000"/>
              <a:gd name="connsiteY101" fmla="*/ 6357493 h 6858000"/>
              <a:gd name="connsiteX102" fmla="*/ 598551 w 9144000"/>
              <a:gd name="connsiteY102" fmla="*/ 6265672 h 6858000"/>
              <a:gd name="connsiteX103" fmla="*/ 611378 w 9144000"/>
              <a:gd name="connsiteY103" fmla="*/ 6253480 h 6858000"/>
              <a:gd name="connsiteX104" fmla="*/ 2797937 w 9144000"/>
              <a:gd name="connsiteY104" fmla="*/ 6253353 h 6858000"/>
              <a:gd name="connsiteX105" fmla="*/ 2809875 w 9144000"/>
              <a:gd name="connsiteY105" fmla="*/ 6264656 h 6858000"/>
              <a:gd name="connsiteX106" fmla="*/ 2809875 w 9144000"/>
              <a:gd name="connsiteY106" fmla="*/ 6384163 h 6858000"/>
              <a:gd name="connsiteX107" fmla="*/ 2797937 w 9144000"/>
              <a:gd name="connsiteY107" fmla="*/ 6395466 h 6858000"/>
              <a:gd name="connsiteX108" fmla="*/ 2838196 w 9144000"/>
              <a:gd name="connsiteY108" fmla="*/ 6395466 h 6858000"/>
              <a:gd name="connsiteX109" fmla="*/ 2826258 w 9144000"/>
              <a:gd name="connsiteY109" fmla="*/ 6384163 h 6858000"/>
              <a:gd name="connsiteX110" fmla="*/ 2826258 w 9144000"/>
              <a:gd name="connsiteY110" fmla="*/ 6264656 h 6858000"/>
              <a:gd name="connsiteX111" fmla="*/ 2838196 w 9144000"/>
              <a:gd name="connsiteY111" fmla="*/ 6253353 h 6858000"/>
              <a:gd name="connsiteX112" fmla="*/ 1701038 w 9144000"/>
              <a:gd name="connsiteY112" fmla="*/ 6253353 h 6858000"/>
              <a:gd name="connsiteX113" fmla="*/ 1713230 w 9144000"/>
              <a:gd name="connsiteY113" fmla="*/ 6264656 h 6858000"/>
              <a:gd name="connsiteX114" fmla="*/ 1713230 w 9144000"/>
              <a:gd name="connsiteY114" fmla="*/ 6264910 h 6858000"/>
              <a:gd name="connsiteX115" fmla="*/ 1750949 w 9144000"/>
              <a:gd name="connsiteY115" fmla="*/ 6329807 h 6858000"/>
              <a:gd name="connsiteX116" fmla="*/ 1750949 w 9144000"/>
              <a:gd name="connsiteY116" fmla="*/ 6384544 h 6858000"/>
              <a:gd name="connsiteX117" fmla="*/ 1739011 w 9144000"/>
              <a:gd name="connsiteY117" fmla="*/ 6395847 h 6858000"/>
              <a:gd name="connsiteX118" fmla="*/ 1779270 w 9144000"/>
              <a:gd name="connsiteY118" fmla="*/ 6395847 h 6858000"/>
              <a:gd name="connsiteX119" fmla="*/ 1767332 w 9144000"/>
              <a:gd name="connsiteY119" fmla="*/ 6384544 h 6858000"/>
              <a:gd name="connsiteX120" fmla="*/ 1767332 w 9144000"/>
              <a:gd name="connsiteY120" fmla="*/ 6329553 h 6858000"/>
              <a:gd name="connsiteX121" fmla="*/ 1805813 w 9144000"/>
              <a:gd name="connsiteY121" fmla="*/ 6264910 h 6858000"/>
              <a:gd name="connsiteX122" fmla="*/ 1805686 w 9144000"/>
              <a:gd name="connsiteY122" fmla="*/ 6264910 h 6858000"/>
              <a:gd name="connsiteX123" fmla="*/ 1818005 w 9144000"/>
              <a:gd name="connsiteY123" fmla="*/ 6253353 h 6858000"/>
              <a:gd name="connsiteX124" fmla="*/ 1781175 w 9144000"/>
              <a:gd name="connsiteY124" fmla="*/ 6253353 h 6858000"/>
              <a:gd name="connsiteX125" fmla="*/ 1792859 w 9144000"/>
              <a:gd name="connsiteY125" fmla="*/ 6264402 h 6858000"/>
              <a:gd name="connsiteX126" fmla="*/ 1761490 w 9144000"/>
              <a:gd name="connsiteY126" fmla="*/ 6317742 h 6858000"/>
              <a:gd name="connsiteX127" fmla="*/ 1731645 w 9144000"/>
              <a:gd name="connsiteY127" fmla="*/ 6264402 h 6858000"/>
              <a:gd name="connsiteX128" fmla="*/ 1743329 w 9144000"/>
              <a:gd name="connsiteY128" fmla="*/ 6253353 h 6858000"/>
              <a:gd name="connsiteX129" fmla="*/ 1573911 w 9144000"/>
              <a:gd name="connsiteY129" fmla="*/ 6253353 h 6858000"/>
              <a:gd name="connsiteX130" fmla="*/ 1573911 w 9144000"/>
              <a:gd name="connsiteY130" fmla="*/ 6279134 h 6858000"/>
              <a:gd name="connsiteX131" fmla="*/ 1590040 w 9144000"/>
              <a:gd name="connsiteY131" fmla="*/ 6263894 h 6858000"/>
              <a:gd name="connsiteX132" fmla="*/ 1618107 w 9144000"/>
              <a:gd name="connsiteY132" fmla="*/ 6263894 h 6858000"/>
              <a:gd name="connsiteX133" fmla="*/ 1618107 w 9144000"/>
              <a:gd name="connsiteY133" fmla="*/ 6384163 h 6858000"/>
              <a:gd name="connsiteX134" fmla="*/ 1606423 w 9144000"/>
              <a:gd name="connsiteY134" fmla="*/ 6395466 h 6858000"/>
              <a:gd name="connsiteX135" fmla="*/ 1646428 w 9144000"/>
              <a:gd name="connsiteY135" fmla="*/ 6395466 h 6858000"/>
              <a:gd name="connsiteX136" fmla="*/ 1634617 w 9144000"/>
              <a:gd name="connsiteY136" fmla="*/ 6384290 h 6858000"/>
              <a:gd name="connsiteX137" fmla="*/ 1634617 w 9144000"/>
              <a:gd name="connsiteY137" fmla="*/ 6263894 h 6858000"/>
              <a:gd name="connsiteX138" fmla="*/ 1662938 w 9144000"/>
              <a:gd name="connsiteY138" fmla="*/ 6263894 h 6858000"/>
              <a:gd name="connsiteX139" fmla="*/ 1678940 w 9144000"/>
              <a:gd name="connsiteY139" fmla="*/ 6279134 h 6858000"/>
              <a:gd name="connsiteX140" fmla="*/ 1678940 w 9144000"/>
              <a:gd name="connsiteY140" fmla="*/ 6253353 h 6858000"/>
              <a:gd name="connsiteX141" fmla="*/ 722884 w 9144000"/>
              <a:gd name="connsiteY141" fmla="*/ 6253353 h 6858000"/>
              <a:gd name="connsiteX142" fmla="*/ 735457 w 9144000"/>
              <a:gd name="connsiteY142" fmla="*/ 6265545 h 6858000"/>
              <a:gd name="connsiteX143" fmla="*/ 735457 w 9144000"/>
              <a:gd name="connsiteY143" fmla="*/ 6383274 h 6858000"/>
              <a:gd name="connsiteX144" fmla="*/ 722884 w 9144000"/>
              <a:gd name="connsiteY144" fmla="*/ 6395466 h 6858000"/>
              <a:gd name="connsiteX145" fmla="*/ 761873 w 9144000"/>
              <a:gd name="connsiteY145" fmla="*/ 6395466 h 6858000"/>
              <a:gd name="connsiteX146" fmla="*/ 749046 w 9144000"/>
              <a:gd name="connsiteY146" fmla="*/ 6383274 h 6858000"/>
              <a:gd name="connsiteX147" fmla="*/ 749046 w 9144000"/>
              <a:gd name="connsiteY147" fmla="*/ 6276721 h 6858000"/>
              <a:gd name="connsiteX148" fmla="*/ 829056 w 9144000"/>
              <a:gd name="connsiteY148" fmla="*/ 6395593 h 6858000"/>
              <a:gd name="connsiteX149" fmla="*/ 834263 w 9144000"/>
              <a:gd name="connsiteY149" fmla="*/ 6395593 h 6858000"/>
              <a:gd name="connsiteX150" fmla="*/ 834263 w 9144000"/>
              <a:gd name="connsiteY150" fmla="*/ 6265672 h 6858000"/>
              <a:gd name="connsiteX151" fmla="*/ 834263 w 9144000"/>
              <a:gd name="connsiteY151" fmla="*/ 6265545 h 6858000"/>
              <a:gd name="connsiteX152" fmla="*/ 847090 w 9144000"/>
              <a:gd name="connsiteY152" fmla="*/ 6253353 h 6858000"/>
              <a:gd name="connsiteX153" fmla="*/ 808101 w 9144000"/>
              <a:gd name="connsiteY153" fmla="*/ 6253353 h 6858000"/>
              <a:gd name="connsiteX154" fmla="*/ 820928 w 9144000"/>
              <a:gd name="connsiteY154" fmla="*/ 6265545 h 6858000"/>
              <a:gd name="connsiteX155" fmla="*/ 820928 w 9144000"/>
              <a:gd name="connsiteY155" fmla="*/ 6355969 h 6858000"/>
              <a:gd name="connsiteX156" fmla="*/ 753745 w 9144000"/>
              <a:gd name="connsiteY156" fmla="*/ 6253353 h 6858000"/>
              <a:gd name="connsiteX157" fmla="*/ 3453003 w 9144000"/>
              <a:gd name="connsiteY157" fmla="*/ 6253226 h 6858000"/>
              <a:gd name="connsiteX158" fmla="*/ 3465576 w 9144000"/>
              <a:gd name="connsiteY158" fmla="*/ 6265418 h 6858000"/>
              <a:gd name="connsiteX159" fmla="*/ 3465576 w 9144000"/>
              <a:gd name="connsiteY159" fmla="*/ 6383147 h 6858000"/>
              <a:gd name="connsiteX160" fmla="*/ 3453003 w 9144000"/>
              <a:gd name="connsiteY160" fmla="*/ 6395339 h 6858000"/>
              <a:gd name="connsiteX161" fmla="*/ 3491992 w 9144000"/>
              <a:gd name="connsiteY161" fmla="*/ 6395339 h 6858000"/>
              <a:gd name="connsiteX162" fmla="*/ 3479165 w 9144000"/>
              <a:gd name="connsiteY162" fmla="*/ 6383147 h 6858000"/>
              <a:gd name="connsiteX163" fmla="*/ 3479165 w 9144000"/>
              <a:gd name="connsiteY163" fmla="*/ 6276594 h 6858000"/>
              <a:gd name="connsiteX164" fmla="*/ 3556889 w 9144000"/>
              <a:gd name="connsiteY164" fmla="*/ 6395466 h 6858000"/>
              <a:gd name="connsiteX165" fmla="*/ 3564509 w 9144000"/>
              <a:gd name="connsiteY165" fmla="*/ 6395466 h 6858000"/>
              <a:gd name="connsiteX166" fmla="*/ 3564509 w 9144000"/>
              <a:gd name="connsiteY166" fmla="*/ 6265545 h 6858000"/>
              <a:gd name="connsiteX167" fmla="*/ 3564382 w 9144000"/>
              <a:gd name="connsiteY167" fmla="*/ 6265418 h 6858000"/>
              <a:gd name="connsiteX168" fmla="*/ 3577209 w 9144000"/>
              <a:gd name="connsiteY168" fmla="*/ 6253226 h 6858000"/>
              <a:gd name="connsiteX169" fmla="*/ 3538220 w 9144000"/>
              <a:gd name="connsiteY169" fmla="*/ 6253226 h 6858000"/>
              <a:gd name="connsiteX170" fmla="*/ 3551047 w 9144000"/>
              <a:gd name="connsiteY170" fmla="*/ 6265418 h 6858000"/>
              <a:gd name="connsiteX171" fmla="*/ 3551047 w 9144000"/>
              <a:gd name="connsiteY171" fmla="*/ 6355842 h 6858000"/>
              <a:gd name="connsiteX172" fmla="*/ 3483991 w 9144000"/>
              <a:gd name="connsiteY172" fmla="*/ 6253226 h 6858000"/>
              <a:gd name="connsiteX173" fmla="*/ 3176143 w 9144000"/>
              <a:gd name="connsiteY173" fmla="*/ 6253226 h 6858000"/>
              <a:gd name="connsiteX174" fmla="*/ 3176143 w 9144000"/>
              <a:gd name="connsiteY174" fmla="*/ 6279007 h 6858000"/>
              <a:gd name="connsiteX175" fmla="*/ 3192272 w 9144000"/>
              <a:gd name="connsiteY175" fmla="*/ 6263767 h 6858000"/>
              <a:gd name="connsiteX176" fmla="*/ 3220339 w 9144000"/>
              <a:gd name="connsiteY176" fmla="*/ 6263767 h 6858000"/>
              <a:gd name="connsiteX177" fmla="*/ 3220339 w 9144000"/>
              <a:gd name="connsiteY177" fmla="*/ 6384036 h 6858000"/>
              <a:gd name="connsiteX178" fmla="*/ 3208655 w 9144000"/>
              <a:gd name="connsiteY178" fmla="*/ 6395339 h 6858000"/>
              <a:gd name="connsiteX179" fmla="*/ 3248660 w 9144000"/>
              <a:gd name="connsiteY179" fmla="*/ 6395339 h 6858000"/>
              <a:gd name="connsiteX180" fmla="*/ 3236722 w 9144000"/>
              <a:gd name="connsiteY180" fmla="*/ 6384036 h 6858000"/>
              <a:gd name="connsiteX181" fmla="*/ 3236722 w 9144000"/>
              <a:gd name="connsiteY181" fmla="*/ 6263767 h 6858000"/>
              <a:gd name="connsiteX182" fmla="*/ 3265043 w 9144000"/>
              <a:gd name="connsiteY182" fmla="*/ 6263767 h 6858000"/>
              <a:gd name="connsiteX183" fmla="*/ 3281045 w 9144000"/>
              <a:gd name="connsiteY183" fmla="*/ 6279007 h 6858000"/>
              <a:gd name="connsiteX184" fmla="*/ 3281172 w 9144000"/>
              <a:gd name="connsiteY184" fmla="*/ 6279007 h 6858000"/>
              <a:gd name="connsiteX185" fmla="*/ 3281172 w 9144000"/>
              <a:gd name="connsiteY185" fmla="*/ 6253226 h 6858000"/>
              <a:gd name="connsiteX186" fmla="*/ 2878963 w 9144000"/>
              <a:gd name="connsiteY186" fmla="*/ 6253226 h 6858000"/>
              <a:gd name="connsiteX187" fmla="*/ 2891536 w 9144000"/>
              <a:gd name="connsiteY187" fmla="*/ 6265418 h 6858000"/>
              <a:gd name="connsiteX188" fmla="*/ 2891536 w 9144000"/>
              <a:gd name="connsiteY188" fmla="*/ 6383147 h 6858000"/>
              <a:gd name="connsiteX189" fmla="*/ 2878963 w 9144000"/>
              <a:gd name="connsiteY189" fmla="*/ 6395339 h 6858000"/>
              <a:gd name="connsiteX190" fmla="*/ 2917952 w 9144000"/>
              <a:gd name="connsiteY190" fmla="*/ 6395339 h 6858000"/>
              <a:gd name="connsiteX191" fmla="*/ 2905125 w 9144000"/>
              <a:gd name="connsiteY191" fmla="*/ 6383020 h 6858000"/>
              <a:gd name="connsiteX192" fmla="*/ 2905125 w 9144000"/>
              <a:gd name="connsiteY192" fmla="*/ 6276594 h 6858000"/>
              <a:gd name="connsiteX193" fmla="*/ 2983611 w 9144000"/>
              <a:gd name="connsiteY193" fmla="*/ 6395593 h 6858000"/>
              <a:gd name="connsiteX194" fmla="*/ 2990342 w 9144000"/>
              <a:gd name="connsiteY194" fmla="*/ 6395593 h 6858000"/>
              <a:gd name="connsiteX195" fmla="*/ 2990342 w 9144000"/>
              <a:gd name="connsiteY195" fmla="*/ 6265545 h 6858000"/>
              <a:gd name="connsiteX196" fmla="*/ 2990342 w 9144000"/>
              <a:gd name="connsiteY196" fmla="*/ 6265418 h 6858000"/>
              <a:gd name="connsiteX197" fmla="*/ 3003169 w 9144000"/>
              <a:gd name="connsiteY197" fmla="*/ 6253226 h 6858000"/>
              <a:gd name="connsiteX198" fmla="*/ 2964180 w 9144000"/>
              <a:gd name="connsiteY198" fmla="*/ 6253226 h 6858000"/>
              <a:gd name="connsiteX199" fmla="*/ 2977007 w 9144000"/>
              <a:gd name="connsiteY199" fmla="*/ 6265418 h 6858000"/>
              <a:gd name="connsiteX200" fmla="*/ 2977007 w 9144000"/>
              <a:gd name="connsiteY200" fmla="*/ 6355842 h 6858000"/>
              <a:gd name="connsiteX201" fmla="*/ 2909824 w 9144000"/>
              <a:gd name="connsiteY201" fmla="*/ 6253226 h 6858000"/>
              <a:gd name="connsiteX202" fmla="*/ 2637409 w 9144000"/>
              <a:gd name="connsiteY202" fmla="*/ 6253226 h 6858000"/>
              <a:gd name="connsiteX203" fmla="*/ 2649093 w 9144000"/>
              <a:gd name="connsiteY203" fmla="*/ 6264529 h 6858000"/>
              <a:gd name="connsiteX204" fmla="*/ 2649093 w 9144000"/>
              <a:gd name="connsiteY204" fmla="*/ 6384036 h 6858000"/>
              <a:gd name="connsiteX205" fmla="*/ 2637409 w 9144000"/>
              <a:gd name="connsiteY205" fmla="*/ 6395339 h 6858000"/>
              <a:gd name="connsiteX206" fmla="*/ 2677414 w 9144000"/>
              <a:gd name="connsiteY206" fmla="*/ 6395339 h 6858000"/>
              <a:gd name="connsiteX207" fmla="*/ 2665476 w 9144000"/>
              <a:gd name="connsiteY207" fmla="*/ 6384036 h 6858000"/>
              <a:gd name="connsiteX208" fmla="*/ 2665476 w 9144000"/>
              <a:gd name="connsiteY208" fmla="*/ 6324092 h 6858000"/>
              <a:gd name="connsiteX209" fmla="*/ 2728214 w 9144000"/>
              <a:gd name="connsiteY209" fmla="*/ 6324092 h 6858000"/>
              <a:gd name="connsiteX210" fmla="*/ 2728214 w 9144000"/>
              <a:gd name="connsiteY210" fmla="*/ 6384163 h 6858000"/>
              <a:gd name="connsiteX211" fmla="*/ 2716276 w 9144000"/>
              <a:gd name="connsiteY211" fmla="*/ 6395466 h 6858000"/>
              <a:gd name="connsiteX212" fmla="*/ 2756535 w 9144000"/>
              <a:gd name="connsiteY212" fmla="*/ 6395466 h 6858000"/>
              <a:gd name="connsiteX213" fmla="*/ 2744597 w 9144000"/>
              <a:gd name="connsiteY213" fmla="*/ 6384163 h 6858000"/>
              <a:gd name="connsiteX214" fmla="*/ 2744597 w 9144000"/>
              <a:gd name="connsiteY214" fmla="*/ 6264529 h 6858000"/>
              <a:gd name="connsiteX215" fmla="*/ 2756535 w 9144000"/>
              <a:gd name="connsiteY215" fmla="*/ 6253226 h 6858000"/>
              <a:gd name="connsiteX216" fmla="*/ 2716276 w 9144000"/>
              <a:gd name="connsiteY216" fmla="*/ 6253226 h 6858000"/>
              <a:gd name="connsiteX217" fmla="*/ 2728214 w 9144000"/>
              <a:gd name="connsiteY217" fmla="*/ 6264529 h 6858000"/>
              <a:gd name="connsiteX218" fmla="*/ 2728214 w 9144000"/>
              <a:gd name="connsiteY218" fmla="*/ 6313424 h 6858000"/>
              <a:gd name="connsiteX219" fmla="*/ 2665476 w 9144000"/>
              <a:gd name="connsiteY219" fmla="*/ 6313424 h 6858000"/>
              <a:gd name="connsiteX220" fmla="*/ 2665476 w 9144000"/>
              <a:gd name="connsiteY220" fmla="*/ 6264529 h 6858000"/>
              <a:gd name="connsiteX221" fmla="*/ 2677414 w 9144000"/>
              <a:gd name="connsiteY221" fmla="*/ 6253226 h 6858000"/>
              <a:gd name="connsiteX222" fmla="*/ 2430907 w 9144000"/>
              <a:gd name="connsiteY222" fmla="*/ 6253226 h 6858000"/>
              <a:gd name="connsiteX223" fmla="*/ 2383536 w 9144000"/>
              <a:gd name="connsiteY223" fmla="*/ 6383909 h 6858000"/>
              <a:gd name="connsiteX224" fmla="*/ 2371344 w 9144000"/>
              <a:gd name="connsiteY224" fmla="*/ 6395466 h 6858000"/>
              <a:gd name="connsiteX225" fmla="*/ 2407285 w 9144000"/>
              <a:gd name="connsiteY225" fmla="*/ 6395466 h 6858000"/>
              <a:gd name="connsiteX226" fmla="*/ 2395601 w 9144000"/>
              <a:gd name="connsiteY226" fmla="*/ 6384417 h 6858000"/>
              <a:gd name="connsiteX227" fmla="*/ 2406396 w 9144000"/>
              <a:gd name="connsiteY227" fmla="*/ 6354318 h 6858000"/>
              <a:gd name="connsiteX228" fmla="*/ 2455799 w 9144000"/>
              <a:gd name="connsiteY228" fmla="*/ 6354318 h 6858000"/>
              <a:gd name="connsiteX229" fmla="*/ 2466086 w 9144000"/>
              <a:gd name="connsiteY229" fmla="*/ 6384417 h 6858000"/>
              <a:gd name="connsiteX230" fmla="*/ 2454402 w 9144000"/>
              <a:gd name="connsiteY230" fmla="*/ 6395466 h 6858000"/>
              <a:gd name="connsiteX231" fmla="*/ 2454656 w 9144000"/>
              <a:gd name="connsiteY231" fmla="*/ 6395466 h 6858000"/>
              <a:gd name="connsiteX232" fmla="*/ 2496947 w 9144000"/>
              <a:gd name="connsiteY232" fmla="*/ 6395466 h 6858000"/>
              <a:gd name="connsiteX233" fmla="*/ 2485009 w 9144000"/>
              <a:gd name="connsiteY233" fmla="*/ 6383909 h 6858000"/>
              <a:gd name="connsiteX234" fmla="*/ 2438527 w 9144000"/>
              <a:gd name="connsiteY234" fmla="*/ 6253226 h 6858000"/>
              <a:gd name="connsiteX235" fmla="*/ 2175256 w 9144000"/>
              <a:gd name="connsiteY235" fmla="*/ 6253226 h 6858000"/>
              <a:gd name="connsiteX236" fmla="*/ 2187448 w 9144000"/>
              <a:gd name="connsiteY236" fmla="*/ 6264529 h 6858000"/>
              <a:gd name="connsiteX237" fmla="*/ 2229485 w 9144000"/>
              <a:gd name="connsiteY237" fmla="*/ 6395466 h 6858000"/>
              <a:gd name="connsiteX238" fmla="*/ 2236851 w 9144000"/>
              <a:gd name="connsiteY238" fmla="*/ 6395466 h 6858000"/>
              <a:gd name="connsiteX239" fmla="*/ 2271014 w 9144000"/>
              <a:gd name="connsiteY239" fmla="*/ 6292469 h 6858000"/>
              <a:gd name="connsiteX240" fmla="*/ 2304161 w 9144000"/>
              <a:gd name="connsiteY240" fmla="*/ 6395466 h 6858000"/>
              <a:gd name="connsiteX241" fmla="*/ 2311781 w 9144000"/>
              <a:gd name="connsiteY241" fmla="*/ 6395466 h 6858000"/>
              <a:gd name="connsiteX242" fmla="*/ 2355088 w 9144000"/>
              <a:gd name="connsiteY242" fmla="*/ 6264529 h 6858000"/>
              <a:gd name="connsiteX243" fmla="*/ 2367280 w 9144000"/>
              <a:gd name="connsiteY243" fmla="*/ 6253226 h 6858000"/>
              <a:gd name="connsiteX244" fmla="*/ 2331339 w 9144000"/>
              <a:gd name="connsiteY244" fmla="*/ 6253226 h 6858000"/>
              <a:gd name="connsiteX245" fmla="*/ 2343023 w 9144000"/>
              <a:gd name="connsiteY245" fmla="*/ 6264275 h 6858000"/>
              <a:gd name="connsiteX246" fmla="*/ 2311400 w 9144000"/>
              <a:gd name="connsiteY246" fmla="*/ 6362700 h 6858000"/>
              <a:gd name="connsiteX247" fmla="*/ 2280793 w 9144000"/>
              <a:gd name="connsiteY247" fmla="*/ 6264275 h 6858000"/>
              <a:gd name="connsiteX248" fmla="*/ 2292477 w 9144000"/>
              <a:gd name="connsiteY248" fmla="*/ 6253226 h 6858000"/>
              <a:gd name="connsiteX249" fmla="*/ 2250186 w 9144000"/>
              <a:gd name="connsiteY249" fmla="*/ 6253226 h 6858000"/>
              <a:gd name="connsiteX250" fmla="*/ 2262124 w 9144000"/>
              <a:gd name="connsiteY250" fmla="*/ 6264529 h 6858000"/>
              <a:gd name="connsiteX251" fmla="*/ 2265045 w 9144000"/>
              <a:gd name="connsiteY251" fmla="*/ 6273927 h 6858000"/>
              <a:gd name="connsiteX252" fmla="*/ 2236470 w 9144000"/>
              <a:gd name="connsiteY252" fmla="*/ 6362700 h 6858000"/>
              <a:gd name="connsiteX253" fmla="*/ 2205863 w 9144000"/>
              <a:gd name="connsiteY253" fmla="*/ 6264275 h 6858000"/>
              <a:gd name="connsiteX254" fmla="*/ 2217547 w 9144000"/>
              <a:gd name="connsiteY254" fmla="*/ 6253226 h 6858000"/>
              <a:gd name="connsiteX255" fmla="*/ 1416685 w 9144000"/>
              <a:gd name="connsiteY255" fmla="*/ 6252845 h 6858000"/>
              <a:gd name="connsiteX256" fmla="*/ 1378712 w 9144000"/>
              <a:gd name="connsiteY256" fmla="*/ 6287770 h 6858000"/>
              <a:gd name="connsiteX257" fmla="*/ 1398016 w 9144000"/>
              <a:gd name="connsiteY257" fmla="*/ 6320282 h 6858000"/>
              <a:gd name="connsiteX258" fmla="*/ 1428623 w 9144000"/>
              <a:gd name="connsiteY258" fmla="*/ 6341237 h 6858000"/>
              <a:gd name="connsiteX259" fmla="*/ 1439164 w 9144000"/>
              <a:gd name="connsiteY259" fmla="*/ 6361938 h 6858000"/>
              <a:gd name="connsiteX260" fmla="*/ 1414399 w 9144000"/>
              <a:gd name="connsiteY260" fmla="*/ 6386957 h 6858000"/>
              <a:gd name="connsiteX261" fmla="*/ 1404112 w 9144000"/>
              <a:gd name="connsiteY261" fmla="*/ 6385052 h 6858000"/>
              <a:gd name="connsiteX262" fmla="*/ 1390015 w 9144000"/>
              <a:gd name="connsiteY262" fmla="*/ 6369177 h 6858000"/>
              <a:gd name="connsiteX263" fmla="*/ 1377188 w 9144000"/>
              <a:gd name="connsiteY263" fmla="*/ 6391402 h 6858000"/>
              <a:gd name="connsiteX264" fmla="*/ 1405763 w 9144000"/>
              <a:gd name="connsiteY264" fmla="*/ 6396736 h 6858000"/>
              <a:gd name="connsiteX265" fmla="*/ 1414484 w 9144000"/>
              <a:gd name="connsiteY265" fmla="*/ 6397621 h 6858000"/>
              <a:gd name="connsiteX266" fmla="*/ 1414145 w 9144000"/>
              <a:gd name="connsiteY266" fmla="*/ 6397752 h 6858000"/>
              <a:gd name="connsiteX267" fmla="*/ 1414526 w 9144000"/>
              <a:gd name="connsiteY267" fmla="*/ 6397625 h 6858000"/>
              <a:gd name="connsiteX268" fmla="*/ 1414484 w 9144000"/>
              <a:gd name="connsiteY268" fmla="*/ 6397621 h 6858000"/>
              <a:gd name="connsiteX269" fmla="*/ 1441672 w 9144000"/>
              <a:gd name="connsiteY269" fmla="*/ 6387084 h 6858000"/>
              <a:gd name="connsiteX270" fmla="*/ 1455674 w 9144000"/>
              <a:gd name="connsiteY270" fmla="*/ 6356223 h 6858000"/>
              <a:gd name="connsiteX271" fmla="*/ 1441704 w 9144000"/>
              <a:gd name="connsiteY271" fmla="*/ 6329045 h 6858000"/>
              <a:gd name="connsiteX272" fmla="*/ 1411351 w 9144000"/>
              <a:gd name="connsiteY272" fmla="*/ 6308090 h 6858000"/>
              <a:gd name="connsiteX273" fmla="*/ 1394968 w 9144000"/>
              <a:gd name="connsiteY273" fmla="*/ 6283706 h 6858000"/>
              <a:gd name="connsiteX274" fmla="*/ 1416558 w 9144000"/>
              <a:gd name="connsiteY274" fmla="*/ 6263386 h 6858000"/>
              <a:gd name="connsiteX275" fmla="*/ 1426210 w 9144000"/>
              <a:gd name="connsiteY275" fmla="*/ 6265037 h 6858000"/>
              <a:gd name="connsiteX276" fmla="*/ 1439418 w 9144000"/>
              <a:gd name="connsiteY276" fmla="*/ 6278499 h 6858000"/>
              <a:gd name="connsiteX277" fmla="*/ 1453388 w 9144000"/>
              <a:gd name="connsiteY277" fmla="*/ 6258814 h 6858000"/>
              <a:gd name="connsiteX278" fmla="*/ 1423797 w 9144000"/>
              <a:gd name="connsiteY278" fmla="*/ 6253480 h 6858000"/>
              <a:gd name="connsiteX279" fmla="*/ 1416685 w 9144000"/>
              <a:gd name="connsiteY279" fmla="*/ 6252845 h 6858000"/>
              <a:gd name="connsiteX280" fmla="*/ 2558923 w 9144000"/>
              <a:gd name="connsiteY280" fmla="*/ 6252591 h 6858000"/>
              <a:gd name="connsiteX281" fmla="*/ 2520950 w 9144000"/>
              <a:gd name="connsiteY281" fmla="*/ 6287516 h 6858000"/>
              <a:gd name="connsiteX282" fmla="*/ 2540254 w 9144000"/>
              <a:gd name="connsiteY282" fmla="*/ 6320028 h 6858000"/>
              <a:gd name="connsiteX283" fmla="*/ 2570861 w 9144000"/>
              <a:gd name="connsiteY283" fmla="*/ 6340983 h 6858000"/>
              <a:gd name="connsiteX284" fmla="*/ 2581402 w 9144000"/>
              <a:gd name="connsiteY284" fmla="*/ 6361684 h 6858000"/>
              <a:gd name="connsiteX285" fmla="*/ 2556637 w 9144000"/>
              <a:gd name="connsiteY285" fmla="*/ 6386703 h 6858000"/>
              <a:gd name="connsiteX286" fmla="*/ 2546350 w 9144000"/>
              <a:gd name="connsiteY286" fmla="*/ 6384798 h 6858000"/>
              <a:gd name="connsiteX287" fmla="*/ 2532253 w 9144000"/>
              <a:gd name="connsiteY287" fmla="*/ 6368923 h 6858000"/>
              <a:gd name="connsiteX288" fmla="*/ 2519426 w 9144000"/>
              <a:gd name="connsiteY288" fmla="*/ 6391148 h 6858000"/>
              <a:gd name="connsiteX289" fmla="*/ 2548001 w 9144000"/>
              <a:gd name="connsiteY289" fmla="*/ 6396482 h 6858000"/>
              <a:gd name="connsiteX290" fmla="*/ 2556891 w 9144000"/>
              <a:gd name="connsiteY290" fmla="*/ 6397371 h 6858000"/>
              <a:gd name="connsiteX291" fmla="*/ 2556637 w 9144000"/>
              <a:gd name="connsiteY291" fmla="*/ 6397498 h 6858000"/>
              <a:gd name="connsiteX292" fmla="*/ 2598166 w 9144000"/>
              <a:gd name="connsiteY292" fmla="*/ 6355969 h 6858000"/>
              <a:gd name="connsiteX293" fmla="*/ 2597912 w 9144000"/>
              <a:gd name="connsiteY293" fmla="*/ 6355969 h 6858000"/>
              <a:gd name="connsiteX294" fmla="*/ 2583942 w 9144000"/>
              <a:gd name="connsiteY294" fmla="*/ 6328791 h 6858000"/>
              <a:gd name="connsiteX295" fmla="*/ 2553589 w 9144000"/>
              <a:gd name="connsiteY295" fmla="*/ 6307836 h 6858000"/>
              <a:gd name="connsiteX296" fmla="*/ 2537206 w 9144000"/>
              <a:gd name="connsiteY296" fmla="*/ 6283452 h 6858000"/>
              <a:gd name="connsiteX297" fmla="*/ 2558796 w 9144000"/>
              <a:gd name="connsiteY297" fmla="*/ 6263132 h 6858000"/>
              <a:gd name="connsiteX298" fmla="*/ 2568448 w 9144000"/>
              <a:gd name="connsiteY298" fmla="*/ 6264783 h 6858000"/>
              <a:gd name="connsiteX299" fmla="*/ 2581656 w 9144000"/>
              <a:gd name="connsiteY299" fmla="*/ 6278245 h 6858000"/>
              <a:gd name="connsiteX300" fmla="*/ 2595626 w 9144000"/>
              <a:gd name="connsiteY300" fmla="*/ 6258560 h 6858000"/>
              <a:gd name="connsiteX301" fmla="*/ 2566035 w 9144000"/>
              <a:gd name="connsiteY301" fmla="*/ 6253226 h 6858000"/>
              <a:gd name="connsiteX302" fmla="*/ 2558923 w 9144000"/>
              <a:gd name="connsiteY302" fmla="*/ 6252591 h 6858000"/>
              <a:gd name="connsiteX303" fmla="*/ 2079371 w 9144000"/>
              <a:gd name="connsiteY303" fmla="*/ 6252464 h 6858000"/>
              <a:gd name="connsiteX304" fmla="*/ 2045589 w 9144000"/>
              <a:gd name="connsiteY304" fmla="*/ 6269228 h 6858000"/>
              <a:gd name="connsiteX305" fmla="*/ 2028952 w 9144000"/>
              <a:gd name="connsiteY305" fmla="*/ 6309995 h 6858000"/>
              <a:gd name="connsiteX306" fmla="*/ 2015363 w 9144000"/>
              <a:gd name="connsiteY306" fmla="*/ 6309995 h 6858000"/>
              <a:gd name="connsiteX307" fmla="*/ 2015363 w 9144000"/>
              <a:gd name="connsiteY307" fmla="*/ 6310249 h 6858000"/>
              <a:gd name="connsiteX308" fmla="*/ 2009648 w 9144000"/>
              <a:gd name="connsiteY308" fmla="*/ 6315456 h 6858000"/>
              <a:gd name="connsiteX309" fmla="*/ 2010283 w 9144000"/>
              <a:gd name="connsiteY309" fmla="*/ 6317488 h 6858000"/>
              <a:gd name="connsiteX310" fmla="*/ 2027809 w 9144000"/>
              <a:gd name="connsiteY310" fmla="*/ 6317488 h 6858000"/>
              <a:gd name="connsiteX311" fmla="*/ 2018538 w 9144000"/>
              <a:gd name="connsiteY311" fmla="*/ 6376289 h 6858000"/>
              <a:gd name="connsiteX312" fmla="*/ 2004060 w 9144000"/>
              <a:gd name="connsiteY312" fmla="*/ 6430137 h 6858000"/>
              <a:gd name="connsiteX313" fmla="*/ 1998853 w 9144000"/>
              <a:gd name="connsiteY313" fmla="*/ 6431915 h 6858000"/>
              <a:gd name="connsiteX314" fmla="*/ 1989582 w 9144000"/>
              <a:gd name="connsiteY314" fmla="*/ 6428994 h 6858000"/>
              <a:gd name="connsiteX315" fmla="*/ 1983740 w 9144000"/>
              <a:gd name="connsiteY315" fmla="*/ 6430391 h 6858000"/>
              <a:gd name="connsiteX316" fmla="*/ 1980184 w 9144000"/>
              <a:gd name="connsiteY316" fmla="*/ 6437249 h 6858000"/>
              <a:gd name="connsiteX317" fmla="*/ 1989201 w 9144000"/>
              <a:gd name="connsiteY317" fmla="*/ 6443218 h 6858000"/>
              <a:gd name="connsiteX318" fmla="*/ 2012315 w 9144000"/>
              <a:gd name="connsiteY318" fmla="*/ 6429375 h 6858000"/>
              <a:gd name="connsiteX319" fmla="*/ 2037334 w 9144000"/>
              <a:gd name="connsiteY319" fmla="*/ 6356223 h 6858000"/>
              <a:gd name="connsiteX320" fmla="*/ 2044065 w 9144000"/>
              <a:gd name="connsiteY320" fmla="*/ 6317361 h 6858000"/>
              <a:gd name="connsiteX321" fmla="*/ 2065528 w 9144000"/>
              <a:gd name="connsiteY321" fmla="*/ 6315329 h 6858000"/>
              <a:gd name="connsiteX322" fmla="*/ 2070227 w 9144000"/>
              <a:gd name="connsiteY322" fmla="*/ 6310122 h 6858000"/>
              <a:gd name="connsiteX323" fmla="*/ 2045462 w 9144000"/>
              <a:gd name="connsiteY323" fmla="*/ 6310122 h 6858000"/>
              <a:gd name="connsiteX324" fmla="*/ 2066036 w 9144000"/>
              <a:gd name="connsiteY324" fmla="*/ 6261862 h 6858000"/>
              <a:gd name="connsiteX325" fmla="*/ 2082165 w 9144000"/>
              <a:gd name="connsiteY325" fmla="*/ 6268466 h 6858000"/>
              <a:gd name="connsiteX326" fmla="*/ 2088007 w 9144000"/>
              <a:gd name="connsiteY326" fmla="*/ 6268212 h 6858000"/>
              <a:gd name="connsiteX327" fmla="*/ 2087753 w 9144000"/>
              <a:gd name="connsiteY327" fmla="*/ 6268212 h 6858000"/>
              <a:gd name="connsiteX328" fmla="*/ 2091944 w 9144000"/>
              <a:gd name="connsiteY328" fmla="*/ 6260846 h 6858000"/>
              <a:gd name="connsiteX329" fmla="*/ 2079371 w 9144000"/>
              <a:gd name="connsiteY329" fmla="*/ 6252464 h 6858000"/>
              <a:gd name="connsiteX330" fmla="*/ 3101848 w 9144000"/>
              <a:gd name="connsiteY330" fmla="*/ 6251321 h 6858000"/>
              <a:gd name="connsiteX331" fmla="*/ 3032506 w 9144000"/>
              <a:gd name="connsiteY331" fmla="*/ 6324346 h 6858000"/>
              <a:gd name="connsiteX332" fmla="*/ 3101848 w 9144000"/>
              <a:gd name="connsiteY332" fmla="*/ 6397371 h 6858000"/>
              <a:gd name="connsiteX333" fmla="*/ 3142869 w 9144000"/>
              <a:gd name="connsiteY333" fmla="*/ 6387084 h 6858000"/>
              <a:gd name="connsiteX334" fmla="*/ 3142869 w 9144000"/>
              <a:gd name="connsiteY334" fmla="*/ 6330823 h 6858000"/>
              <a:gd name="connsiteX335" fmla="*/ 3154553 w 9144000"/>
              <a:gd name="connsiteY335" fmla="*/ 6319520 h 6858000"/>
              <a:gd name="connsiteX336" fmla="*/ 3114548 w 9144000"/>
              <a:gd name="connsiteY336" fmla="*/ 6319520 h 6858000"/>
              <a:gd name="connsiteX337" fmla="*/ 3126486 w 9144000"/>
              <a:gd name="connsiteY337" fmla="*/ 6330823 h 6858000"/>
              <a:gd name="connsiteX338" fmla="*/ 3126486 w 9144000"/>
              <a:gd name="connsiteY338" fmla="*/ 6376670 h 6858000"/>
              <a:gd name="connsiteX339" fmla="*/ 3101975 w 9144000"/>
              <a:gd name="connsiteY339" fmla="*/ 6386703 h 6858000"/>
              <a:gd name="connsiteX340" fmla="*/ 3052191 w 9144000"/>
              <a:gd name="connsiteY340" fmla="*/ 6324219 h 6858000"/>
              <a:gd name="connsiteX341" fmla="*/ 3101975 w 9144000"/>
              <a:gd name="connsiteY341" fmla="*/ 6261735 h 6858000"/>
              <a:gd name="connsiteX342" fmla="*/ 3120136 w 9144000"/>
              <a:gd name="connsiteY342" fmla="*/ 6268593 h 6858000"/>
              <a:gd name="connsiteX343" fmla="*/ 3136519 w 9144000"/>
              <a:gd name="connsiteY343" fmla="*/ 6283960 h 6858000"/>
              <a:gd name="connsiteX344" fmla="*/ 3136519 w 9144000"/>
              <a:gd name="connsiteY344" fmla="*/ 6259449 h 6858000"/>
              <a:gd name="connsiteX345" fmla="*/ 3101848 w 9144000"/>
              <a:gd name="connsiteY345" fmla="*/ 6251321 h 6858000"/>
              <a:gd name="connsiteX346" fmla="*/ 3363976 w 9144000"/>
              <a:gd name="connsiteY346" fmla="*/ 6250051 h 6858000"/>
              <a:gd name="connsiteX347" fmla="*/ 3304286 w 9144000"/>
              <a:gd name="connsiteY347" fmla="*/ 6324346 h 6858000"/>
              <a:gd name="connsiteX348" fmla="*/ 3363976 w 9144000"/>
              <a:gd name="connsiteY348" fmla="*/ 6398641 h 6858000"/>
              <a:gd name="connsiteX349" fmla="*/ 3423920 w 9144000"/>
              <a:gd name="connsiteY349" fmla="*/ 6324346 h 6858000"/>
              <a:gd name="connsiteX350" fmla="*/ 3363976 w 9144000"/>
              <a:gd name="connsiteY350" fmla="*/ 6250051 h 6858000"/>
              <a:gd name="connsiteX351" fmla="*/ 0 w 9144000"/>
              <a:gd name="connsiteY351" fmla="*/ 0 h 6858000"/>
              <a:gd name="connsiteX352" fmla="*/ 9144000 w 9144000"/>
              <a:gd name="connsiteY352" fmla="*/ 0 h 6858000"/>
              <a:gd name="connsiteX353" fmla="*/ 9144000 w 9144000"/>
              <a:gd name="connsiteY353" fmla="*/ 380873 h 6858000"/>
              <a:gd name="connsiteX354" fmla="*/ 8779129 w 9144000"/>
              <a:gd name="connsiteY354" fmla="*/ 380873 h 6858000"/>
              <a:gd name="connsiteX355" fmla="*/ 8779129 w 9144000"/>
              <a:gd name="connsiteY355" fmla="*/ 547243 h 6858000"/>
              <a:gd name="connsiteX356" fmla="*/ 8896096 w 9144000"/>
              <a:gd name="connsiteY356" fmla="*/ 547243 h 6858000"/>
              <a:gd name="connsiteX357" fmla="*/ 8765540 w 9144000"/>
              <a:gd name="connsiteY357" fmla="*/ 1033018 h 6858000"/>
              <a:gd name="connsiteX358" fmla="*/ 8603488 w 9144000"/>
              <a:gd name="connsiteY358" fmla="*/ 380873 h 6858000"/>
              <a:gd name="connsiteX359" fmla="*/ 8434578 w 9144000"/>
              <a:gd name="connsiteY359" fmla="*/ 380873 h 6858000"/>
              <a:gd name="connsiteX360" fmla="*/ 8259319 w 9144000"/>
              <a:gd name="connsiteY360" fmla="*/ 1033018 h 6858000"/>
              <a:gd name="connsiteX361" fmla="*/ 8139049 w 9144000"/>
              <a:gd name="connsiteY361" fmla="*/ 547243 h 6858000"/>
              <a:gd name="connsiteX362" fmla="*/ 8260715 w 9144000"/>
              <a:gd name="connsiteY362" fmla="*/ 547243 h 6858000"/>
              <a:gd name="connsiteX363" fmla="*/ 8260715 w 9144000"/>
              <a:gd name="connsiteY363" fmla="*/ 380873 h 6858000"/>
              <a:gd name="connsiteX364" fmla="*/ 7772400 w 9144000"/>
              <a:gd name="connsiteY364" fmla="*/ 380873 h 6858000"/>
              <a:gd name="connsiteX365" fmla="*/ 7772400 w 9144000"/>
              <a:gd name="connsiteY365" fmla="*/ 547243 h 6858000"/>
              <a:gd name="connsiteX366" fmla="*/ 7880604 w 9144000"/>
              <a:gd name="connsiteY366" fmla="*/ 547243 h 6858000"/>
              <a:gd name="connsiteX367" fmla="*/ 8069581 w 9144000"/>
              <a:gd name="connsiteY367" fmla="*/ 1303147 h 6858000"/>
              <a:gd name="connsiteX368" fmla="*/ 8331708 w 9144000"/>
              <a:gd name="connsiteY368" fmla="*/ 1303147 h 6858000"/>
              <a:gd name="connsiteX369" fmla="*/ 8456803 w 9144000"/>
              <a:gd name="connsiteY369" fmla="*/ 827532 h 6858000"/>
              <a:gd name="connsiteX370" fmla="*/ 8575675 w 9144000"/>
              <a:gd name="connsiteY370" fmla="*/ 1303147 h 6858000"/>
              <a:gd name="connsiteX371" fmla="*/ 8837803 w 9144000"/>
              <a:gd name="connsiteY371" fmla="*/ 1303147 h 6858000"/>
              <a:gd name="connsiteX372" fmla="*/ 9036685 w 9144000"/>
              <a:gd name="connsiteY372" fmla="*/ 547243 h 6858000"/>
              <a:gd name="connsiteX373" fmla="*/ 9144000 w 9144000"/>
              <a:gd name="connsiteY373" fmla="*/ 547243 h 6858000"/>
              <a:gd name="connsiteX374" fmla="*/ 9144000 w 9144000"/>
              <a:gd name="connsiteY374" fmla="*/ 6858000 h 6858000"/>
              <a:gd name="connsiteX375" fmla="*/ 0 w 9144000"/>
              <a:gd name="connsiteY37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</a:cxnLst>
            <a:rect l="l" t="t" r="r" b="b"/>
            <a:pathLst>
              <a:path w="9144000" h="6858000">
                <a:moveTo>
                  <a:pt x="1950338" y="6312915"/>
                </a:moveTo>
                <a:cubicBezTo>
                  <a:pt x="1960752" y="6312915"/>
                  <a:pt x="1966975" y="6320535"/>
                  <a:pt x="1966975" y="6335902"/>
                </a:cubicBezTo>
                <a:cubicBezTo>
                  <a:pt x="1967483" y="6361937"/>
                  <a:pt x="1953005" y="6385559"/>
                  <a:pt x="1944242" y="6388353"/>
                </a:cubicBezTo>
                <a:cubicBezTo>
                  <a:pt x="1942464" y="6388988"/>
                  <a:pt x="1939797" y="6389750"/>
                  <a:pt x="1937638" y="6389750"/>
                </a:cubicBezTo>
                <a:cubicBezTo>
                  <a:pt x="1925827" y="6389750"/>
                  <a:pt x="1921001" y="6377812"/>
                  <a:pt x="1921001" y="6362826"/>
                </a:cubicBezTo>
                <a:cubicBezTo>
                  <a:pt x="1921001" y="6333235"/>
                  <a:pt x="1936622" y="6317233"/>
                  <a:pt x="1943226" y="6314566"/>
                </a:cubicBezTo>
                <a:cubicBezTo>
                  <a:pt x="1945131" y="6313804"/>
                  <a:pt x="1948052" y="6313042"/>
                  <a:pt x="1950084" y="6313042"/>
                </a:cubicBezTo>
                <a:close/>
                <a:moveTo>
                  <a:pt x="1956816" y="6305550"/>
                </a:moveTo>
                <a:cubicBezTo>
                  <a:pt x="1951355" y="6305550"/>
                  <a:pt x="1942719" y="6307963"/>
                  <a:pt x="1934083" y="6312789"/>
                </a:cubicBezTo>
                <a:cubicBezTo>
                  <a:pt x="1919605" y="6320917"/>
                  <a:pt x="1903857" y="6339586"/>
                  <a:pt x="1903857" y="6367653"/>
                </a:cubicBezTo>
                <a:cubicBezTo>
                  <a:pt x="1903857" y="6381750"/>
                  <a:pt x="1910715" y="6397371"/>
                  <a:pt x="1930400" y="6397371"/>
                </a:cubicBezTo>
                <a:cubicBezTo>
                  <a:pt x="1939671" y="6397371"/>
                  <a:pt x="1952879" y="6391656"/>
                  <a:pt x="1961642" y="6384036"/>
                </a:cubicBezTo>
                <a:lnTo>
                  <a:pt x="1961769" y="6384036"/>
                </a:lnTo>
                <a:cubicBezTo>
                  <a:pt x="1975612" y="6372098"/>
                  <a:pt x="1983740" y="6351397"/>
                  <a:pt x="1983740" y="6333617"/>
                </a:cubicBezTo>
                <a:cubicBezTo>
                  <a:pt x="1983740" y="6316853"/>
                  <a:pt x="1974469" y="6305550"/>
                  <a:pt x="1956816" y="6305550"/>
                </a:cubicBezTo>
                <a:close/>
                <a:moveTo>
                  <a:pt x="2431414" y="6284976"/>
                </a:moveTo>
                <a:lnTo>
                  <a:pt x="2451861" y="6343904"/>
                </a:lnTo>
                <a:lnTo>
                  <a:pt x="2410205" y="6343904"/>
                </a:lnTo>
                <a:close/>
                <a:moveTo>
                  <a:pt x="1264158" y="6263894"/>
                </a:moveTo>
                <a:lnTo>
                  <a:pt x="1282319" y="6263894"/>
                </a:lnTo>
                <a:cubicBezTo>
                  <a:pt x="1298321" y="6263894"/>
                  <a:pt x="1310894" y="6276975"/>
                  <a:pt x="1310894" y="6292342"/>
                </a:cubicBezTo>
                <a:cubicBezTo>
                  <a:pt x="1310894" y="6307709"/>
                  <a:pt x="1297940" y="6318631"/>
                  <a:pt x="1282319" y="6318631"/>
                </a:cubicBezTo>
                <a:lnTo>
                  <a:pt x="1264158" y="6318631"/>
                </a:lnTo>
                <a:close/>
                <a:moveTo>
                  <a:pt x="3364103" y="6261100"/>
                </a:moveTo>
                <a:cubicBezTo>
                  <a:pt x="3393948" y="6261100"/>
                  <a:pt x="3404489" y="6295136"/>
                  <a:pt x="3404489" y="6324473"/>
                </a:cubicBezTo>
                <a:cubicBezTo>
                  <a:pt x="3404489" y="6353810"/>
                  <a:pt x="3394075" y="6387846"/>
                  <a:pt x="3364103" y="6387846"/>
                </a:cubicBezTo>
                <a:cubicBezTo>
                  <a:pt x="3334131" y="6387846"/>
                  <a:pt x="3323844" y="6353810"/>
                  <a:pt x="3323844" y="6324473"/>
                </a:cubicBezTo>
                <a:cubicBezTo>
                  <a:pt x="3323844" y="6295136"/>
                  <a:pt x="3334258" y="6261100"/>
                  <a:pt x="3364103" y="6261100"/>
                </a:cubicBezTo>
                <a:close/>
                <a:moveTo>
                  <a:pt x="1499108" y="6253480"/>
                </a:moveTo>
                <a:lnTo>
                  <a:pt x="1511046" y="6264783"/>
                </a:lnTo>
                <a:lnTo>
                  <a:pt x="1511046" y="6384290"/>
                </a:lnTo>
                <a:lnTo>
                  <a:pt x="1499108" y="6395593"/>
                </a:lnTo>
                <a:lnTo>
                  <a:pt x="1539367" y="6395593"/>
                </a:lnTo>
                <a:lnTo>
                  <a:pt x="1527429" y="6384290"/>
                </a:lnTo>
                <a:lnTo>
                  <a:pt x="1527429" y="6264783"/>
                </a:lnTo>
                <a:lnTo>
                  <a:pt x="1539367" y="6253480"/>
                </a:lnTo>
                <a:close/>
                <a:moveTo>
                  <a:pt x="1235964" y="6253480"/>
                </a:moveTo>
                <a:lnTo>
                  <a:pt x="1247648" y="6264783"/>
                </a:lnTo>
                <a:lnTo>
                  <a:pt x="1247648" y="6384290"/>
                </a:lnTo>
                <a:lnTo>
                  <a:pt x="1235964" y="6395593"/>
                </a:lnTo>
                <a:lnTo>
                  <a:pt x="1275969" y="6395593"/>
                </a:lnTo>
                <a:lnTo>
                  <a:pt x="1264031" y="6384290"/>
                </a:lnTo>
                <a:lnTo>
                  <a:pt x="1264031" y="6329426"/>
                </a:lnTo>
                <a:lnTo>
                  <a:pt x="1286510" y="6329426"/>
                </a:lnTo>
                <a:lnTo>
                  <a:pt x="1322705" y="6395720"/>
                </a:lnTo>
                <a:lnTo>
                  <a:pt x="1322705" y="6395847"/>
                </a:lnTo>
                <a:lnTo>
                  <a:pt x="1347470" y="6395847"/>
                </a:lnTo>
                <a:lnTo>
                  <a:pt x="1335786" y="6384544"/>
                </a:lnTo>
                <a:lnTo>
                  <a:pt x="1302385" y="6326124"/>
                </a:lnTo>
                <a:cubicBezTo>
                  <a:pt x="1319022" y="6321298"/>
                  <a:pt x="1330452" y="6306312"/>
                  <a:pt x="1330452" y="6292850"/>
                </a:cubicBezTo>
                <a:cubicBezTo>
                  <a:pt x="1330452" y="6268720"/>
                  <a:pt x="1306957" y="6253480"/>
                  <a:pt x="1282192" y="6253480"/>
                </a:cubicBezTo>
                <a:close/>
                <a:moveTo>
                  <a:pt x="1107821" y="6253480"/>
                </a:moveTo>
                <a:lnTo>
                  <a:pt x="1119505" y="6264783"/>
                </a:lnTo>
                <a:lnTo>
                  <a:pt x="1119505" y="6384290"/>
                </a:lnTo>
                <a:lnTo>
                  <a:pt x="1107821" y="6395593"/>
                </a:lnTo>
                <a:lnTo>
                  <a:pt x="1197102" y="6395593"/>
                </a:lnTo>
                <a:lnTo>
                  <a:pt x="1197102" y="6369558"/>
                </a:lnTo>
                <a:lnTo>
                  <a:pt x="1181100" y="6384925"/>
                </a:lnTo>
                <a:lnTo>
                  <a:pt x="1135761" y="6384925"/>
                </a:lnTo>
                <a:lnTo>
                  <a:pt x="1135761" y="6325235"/>
                </a:lnTo>
                <a:lnTo>
                  <a:pt x="1169416" y="6325235"/>
                </a:lnTo>
                <a:lnTo>
                  <a:pt x="1181354" y="6336538"/>
                </a:lnTo>
                <a:lnTo>
                  <a:pt x="1181354" y="6303264"/>
                </a:lnTo>
                <a:lnTo>
                  <a:pt x="1169416" y="6314567"/>
                </a:lnTo>
                <a:lnTo>
                  <a:pt x="1135761" y="6314567"/>
                </a:lnTo>
                <a:lnTo>
                  <a:pt x="1135761" y="6263894"/>
                </a:lnTo>
                <a:lnTo>
                  <a:pt x="1181100" y="6263894"/>
                </a:lnTo>
                <a:lnTo>
                  <a:pt x="1197102" y="6279134"/>
                </a:lnTo>
                <a:lnTo>
                  <a:pt x="1197102" y="6253480"/>
                </a:lnTo>
                <a:close/>
                <a:moveTo>
                  <a:pt x="961263" y="6253480"/>
                </a:moveTo>
                <a:lnTo>
                  <a:pt x="973455" y="6264783"/>
                </a:lnTo>
                <a:lnTo>
                  <a:pt x="1015492" y="6395720"/>
                </a:lnTo>
                <a:lnTo>
                  <a:pt x="1023112" y="6395720"/>
                </a:lnTo>
                <a:lnTo>
                  <a:pt x="1066419" y="6264783"/>
                </a:lnTo>
                <a:lnTo>
                  <a:pt x="1066165" y="6264783"/>
                </a:lnTo>
                <a:lnTo>
                  <a:pt x="1078357" y="6253480"/>
                </a:lnTo>
                <a:lnTo>
                  <a:pt x="1042416" y="6253480"/>
                </a:lnTo>
                <a:lnTo>
                  <a:pt x="1054100" y="6264529"/>
                </a:lnTo>
                <a:lnTo>
                  <a:pt x="1022477" y="6362954"/>
                </a:lnTo>
                <a:lnTo>
                  <a:pt x="991870" y="6264529"/>
                </a:lnTo>
                <a:lnTo>
                  <a:pt x="1003554" y="6253480"/>
                </a:lnTo>
                <a:close/>
                <a:moveTo>
                  <a:pt x="887730" y="6253480"/>
                </a:moveTo>
                <a:lnTo>
                  <a:pt x="899668" y="6264783"/>
                </a:lnTo>
                <a:lnTo>
                  <a:pt x="899668" y="6384290"/>
                </a:lnTo>
                <a:lnTo>
                  <a:pt x="887730" y="6395593"/>
                </a:lnTo>
                <a:lnTo>
                  <a:pt x="927989" y="6395593"/>
                </a:lnTo>
                <a:lnTo>
                  <a:pt x="916051" y="6384290"/>
                </a:lnTo>
                <a:lnTo>
                  <a:pt x="916051" y="6264783"/>
                </a:lnTo>
                <a:lnTo>
                  <a:pt x="927989" y="6253480"/>
                </a:lnTo>
                <a:close/>
                <a:moveTo>
                  <a:pt x="568071" y="6253480"/>
                </a:moveTo>
                <a:lnTo>
                  <a:pt x="581025" y="6265672"/>
                </a:lnTo>
                <a:lnTo>
                  <a:pt x="581025" y="6357493"/>
                </a:lnTo>
                <a:cubicBezTo>
                  <a:pt x="581025" y="6380861"/>
                  <a:pt x="601726" y="6398768"/>
                  <a:pt x="627253" y="6398768"/>
                </a:cubicBezTo>
                <a:cubicBezTo>
                  <a:pt x="652780" y="6398768"/>
                  <a:pt x="675513" y="6381623"/>
                  <a:pt x="675513" y="6357493"/>
                </a:cubicBezTo>
                <a:lnTo>
                  <a:pt x="675513" y="6265672"/>
                </a:lnTo>
                <a:lnTo>
                  <a:pt x="675767" y="6265672"/>
                </a:lnTo>
                <a:lnTo>
                  <a:pt x="688340" y="6253480"/>
                </a:lnTo>
                <a:lnTo>
                  <a:pt x="649478" y="6253480"/>
                </a:lnTo>
                <a:lnTo>
                  <a:pt x="662305" y="6265672"/>
                </a:lnTo>
                <a:lnTo>
                  <a:pt x="662305" y="6357493"/>
                </a:lnTo>
                <a:cubicBezTo>
                  <a:pt x="662305" y="6373876"/>
                  <a:pt x="648589" y="6386957"/>
                  <a:pt x="631444" y="6386957"/>
                </a:cubicBezTo>
                <a:cubicBezTo>
                  <a:pt x="614299" y="6386957"/>
                  <a:pt x="598551" y="6374130"/>
                  <a:pt x="598551" y="6357493"/>
                </a:cubicBezTo>
                <a:lnTo>
                  <a:pt x="598551" y="6265672"/>
                </a:lnTo>
                <a:lnTo>
                  <a:pt x="611378" y="6253480"/>
                </a:lnTo>
                <a:close/>
                <a:moveTo>
                  <a:pt x="2797937" y="6253353"/>
                </a:moveTo>
                <a:lnTo>
                  <a:pt x="2809875" y="6264656"/>
                </a:lnTo>
                <a:lnTo>
                  <a:pt x="2809875" y="6384163"/>
                </a:lnTo>
                <a:lnTo>
                  <a:pt x="2797937" y="6395466"/>
                </a:lnTo>
                <a:lnTo>
                  <a:pt x="2838196" y="6395466"/>
                </a:lnTo>
                <a:lnTo>
                  <a:pt x="2826258" y="6384163"/>
                </a:lnTo>
                <a:lnTo>
                  <a:pt x="2826258" y="6264656"/>
                </a:lnTo>
                <a:lnTo>
                  <a:pt x="2838196" y="6253353"/>
                </a:lnTo>
                <a:close/>
                <a:moveTo>
                  <a:pt x="1701038" y="6253353"/>
                </a:moveTo>
                <a:lnTo>
                  <a:pt x="1713230" y="6264656"/>
                </a:lnTo>
                <a:lnTo>
                  <a:pt x="1713230" y="6264910"/>
                </a:lnTo>
                <a:lnTo>
                  <a:pt x="1750949" y="6329807"/>
                </a:lnTo>
                <a:lnTo>
                  <a:pt x="1750949" y="6384544"/>
                </a:lnTo>
                <a:lnTo>
                  <a:pt x="1739011" y="6395847"/>
                </a:lnTo>
                <a:lnTo>
                  <a:pt x="1779270" y="6395847"/>
                </a:lnTo>
                <a:lnTo>
                  <a:pt x="1767332" y="6384544"/>
                </a:lnTo>
                <a:lnTo>
                  <a:pt x="1767332" y="6329553"/>
                </a:lnTo>
                <a:lnTo>
                  <a:pt x="1805813" y="6264910"/>
                </a:lnTo>
                <a:lnTo>
                  <a:pt x="1805686" y="6264910"/>
                </a:lnTo>
                <a:lnTo>
                  <a:pt x="1818005" y="6253353"/>
                </a:lnTo>
                <a:lnTo>
                  <a:pt x="1781175" y="6253353"/>
                </a:lnTo>
                <a:lnTo>
                  <a:pt x="1792859" y="6264402"/>
                </a:lnTo>
                <a:lnTo>
                  <a:pt x="1761490" y="6317742"/>
                </a:lnTo>
                <a:lnTo>
                  <a:pt x="1731645" y="6264402"/>
                </a:lnTo>
                <a:lnTo>
                  <a:pt x="1743329" y="6253353"/>
                </a:lnTo>
                <a:close/>
                <a:moveTo>
                  <a:pt x="1573911" y="6253353"/>
                </a:moveTo>
                <a:lnTo>
                  <a:pt x="1573911" y="6279134"/>
                </a:lnTo>
                <a:lnTo>
                  <a:pt x="1590040" y="6263894"/>
                </a:lnTo>
                <a:lnTo>
                  <a:pt x="1618107" y="6263894"/>
                </a:lnTo>
                <a:lnTo>
                  <a:pt x="1618107" y="6384163"/>
                </a:lnTo>
                <a:lnTo>
                  <a:pt x="1606423" y="6395466"/>
                </a:lnTo>
                <a:lnTo>
                  <a:pt x="1646428" y="6395466"/>
                </a:lnTo>
                <a:lnTo>
                  <a:pt x="1634617" y="6384290"/>
                </a:lnTo>
                <a:lnTo>
                  <a:pt x="1634617" y="6263894"/>
                </a:lnTo>
                <a:lnTo>
                  <a:pt x="1662938" y="6263894"/>
                </a:lnTo>
                <a:lnTo>
                  <a:pt x="1678940" y="6279134"/>
                </a:lnTo>
                <a:lnTo>
                  <a:pt x="1678940" y="6253353"/>
                </a:lnTo>
                <a:close/>
                <a:moveTo>
                  <a:pt x="722884" y="6253353"/>
                </a:moveTo>
                <a:lnTo>
                  <a:pt x="735457" y="6265545"/>
                </a:lnTo>
                <a:lnTo>
                  <a:pt x="735457" y="6383274"/>
                </a:lnTo>
                <a:lnTo>
                  <a:pt x="722884" y="6395466"/>
                </a:lnTo>
                <a:lnTo>
                  <a:pt x="761873" y="6395466"/>
                </a:lnTo>
                <a:lnTo>
                  <a:pt x="749046" y="6383274"/>
                </a:lnTo>
                <a:lnTo>
                  <a:pt x="749046" y="6276721"/>
                </a:lnTo>
                <a:lnTo>
                  <a:pt x="829056" y="6395593"/>
                </a:lnTo>
                <a:lnTo>
                  <a:pt x="834263" y="6395593"/>
                </a:lnTo>
                <a:lnTo>
                  <a:pt x="834263" y="6265672"/>
                </a:lnTo>
                <a:lnTo>
                  <a:pt x="834263" y="6265545"/>
                </a:lnTo>
                <a:lnTo>
                  <a:pt x="847090" y="6253353"/>
                </a:lnTo>
                <a:lnTo>
                  <a:pt x="808101" y="6253353"/>
                </a:lnTo>
                <a:lnTo>
                  <a:pt x="820928" y="6265545"/>
                </a:lnTo>
                <a:lnTo>
                  <a:pt x="820928" y="6355969"/>
                </a:lnTo>
                <a:lnTo>
                  <a:pt x="753745" y="6253353"/>
                </a:lnTo>
                <a:close/>
                <a:moveTo>
                  <a:pt x="3453003" y="6253226"/>
                </a:moveTo>
                <a:lnTo>
                  <a:pt x="3465576" y="6265418"/>
                </a:lnTo>
                <a:lnTo>
                  <a:pt x="3465576" y="6383147"/>
                </a:lnTo>
                <a:lnTo>
                  <a:pt x="3453003" y="6395339"/>
                </a:lnTo>
                <a:lnTo>
                  <a:pt x="3491992" y="6395339"/>
                </a:lnTo>
                <a:lnTo>
                  <a:pt x="3479165" y="6383147"/>
                </a:lnTo>
                <a:lnTo>
                  <a:pt x="3479165" y="6276594"/>
                </a:lnTo>
                <a:lnTo>
                  <a:pt x="3556889" y="6395466"/>
                </a:lnTo>
                <a:lnTo>
                  <a:pt x="3564509" y="6395466"/>
                </a:lnTo>
                <a:lnTo>
                  <a:pt x="3564509" y="6265545"/>
                </a:lnTo>
                <a:lnTo>
                  <a:pt x="3564382" y="6265418"/>
                </a:lnTo>
                <a:lnTo>
                  <a:pt x="3577209" y="6253226"/>
                </a:lnTo>
                <a:lnTo>
                  <a:pt x="3538220" y="6253226"/>
                </a:lnTo>
                <a:lnTo>
                  <a:pt x="3551047" y="6265418"/>
                </a:lnTo>
                <a:lnTo>
                  <a:pt x="3551047" y="6355842"/>
                </a:lnTo>
                <a:lnTo>
                  <a:pt x="3483991" y="6253226"/>
                </a:lnTo>
                <a:close/>
                <a:moveTo>
                  <a:pt x="3176143" y="6253226"/>
                </a:moveTo>
                <a:lnTo>
                  <a:pt x="3176143" y="6279007"/>
                </a:lnTo>
                <a:lnTo>
                  <a:pt x="3192272" y="6263767"/>
                </a:lnTo>
                <a:lnTo>
                  <a:pt x="3220339" y="6263767"/>
                </a:lnTo>
                <a:lnTo>
                  <a:pt x="3220339" y="6384036"/>
                </a:lnTo>
                <a:lnTo>
                  <a:pt x="3208655" y="6395339"/>
                </a:lnTo>
                <a:lnTo>
                  <a:pt x="3248660" y="6395339"/>
                </a:lnTo>
                <a:lnTo>
                  <a:pt x="3236722" y="6384036"/>
                </a:lnTo>
                <a:lnTo>
                  <a:pt x="3236722" y="6263767"/>
                </a:lnTo>
                <a:lnTo>
                  <a:pt x="3265043" y="6263767"/>
                </a:lnTo>
                <a:lnTo>
                  <a:pt x="3281045" y="6279007"/>
                </a:lnTo>
                <a:lnTo>
                  <a:pt x="3281172" y="6279007"/>
                </a:lnTo>
                <a:lnTo>
                  <a:pt x="3281172" y="6253226"/>
                </a:lnTo>
                <a:close/>
                <a:moveTo>
                  <a:pt x="2878963" y="6253226"/>
                </a:moveTo>
                <a:lnTo>
                  <a:pt x="2891536" y="6265418"/>
                </a:lnTo>
                <a:lnTo>
                  <a:pt x="2891536" y="6383147"/>
                </a:lnTo>
                <a:lnTo>
                  <a:pt x="2878963" y="6395339"/>
                </a:lnTo>
                <a:lnTo>
                  <a:pt x="2917952" y="6395339"/>
                </a:lnTo>
                <a:cubicBezTo>
                  <a:pt x="2917952" y="6395339"/>
                  <a:pt x="2905125" y="6383020"/>
                  <a:pt x="2905125" y="6383020"/>
                </a:cubicBezTo>
                <a:lnTo>
                  <a:pt x="2905125" y="6276594"/>
                </a:lnTo>
                <a:lnTo>
                  <a:pt x="2983611" y="6395593"/>
                </a:lnTo>
                <a:lnTo>
                  <a:pt x="2990342" y="6395593"/>
                </a:lnTo>
                <a:lnTo>
                  <a:pt x="2990342" y="6265545"/>
                </a:lnTo>
                <a:lnTo>
                  <a:pt x="2990342" y="6265418"/>
                </a:lnTo>
                <a:lnTo>
                  <a:pt x="3003169" y="6253226"/>
                </a:lnTo>
                <a:lnTo>
                  <a:pt x="2964180" y="6253226"/>
                </a:lnTo>
                <a:lnTo>
                  <a:pt x="2977007" y="6265418"/>
                </a:lnTo>
                <a:lnTo>
                  <a:pt x="2977007" y="6355842"/>
                </a:lnTo>
                <a:lnTo>
                  <a:pt x="2909824" y="6253226"/>
                </a:lnTo>
                <a:close/>
                <a:moveTo>
                  <a:pt x="2637409" y="6253226"/>
                </a:moveTo>
                <a:lnTo>
                  <a:pt x="2649093" y="6264529"/>
                </a:lnTo>
                <a:lnTo>
                  <a:pt x="2649093" y="6384036"/>
                </a:lnTo>
                <a:lnTo>
                  <a:pt x="2637409" y="6395339"/>
                </a:lnTo>
                <a:lnTo>
                  <a:pt x="2677414" y="6395339"/>
                </a:lnTo>
                <a:lnTo>
                  <a:pt x="2665476" y="6384036"/>
                </a:lnTo>
                <a:lnTo>
                  <a:pt x="2665476" y="6324092"/>
                </a:lnTo>
                <a:lnTo>
                  <a:pt x="2728214" y="6324092"/>
                </a:lnTo>
                <a:lnTo>
                  <a:pt x="2728214" y="6384163"/>
                </a:lnTo>
                <a:lnTo>
                  <a:pt x="2716276" y="6395466"/>
                </a:lnTo>
                <a:lnTo>
                  <a:pt x="2756535" y="6395466"/>
                </a:lnTo>
                <a:lnTo>
                  <a:pt x="2744597" y="6384163"/>
                </a:lnTo>
                <a:lnTo>
                  <a:pt x="2744597" y="6264529"/>
                </a:lnTo>
                <a:lnTo>
                  <a:pt x="2756535" y="6253226"/>
                </a:lnTo>
                <a:lnTo>
                  <a:pt x="2716276" y="6253226"/>
                </a:lnTo>
                <a:lnTo>
                  <a:pt x="2728214" y="6264529"/>
                </a:lnTo>
                <a:lnTo>
                  <a:pt x="2728214" y="6313424"/>
                </a:lnTo>
                <a:lnTo>
                  <a:pt x="2665476" y="6313424"/>
                </a:lnTo>
                <a:lnTo>
                  <a:pt x="2665476" y="6264529"/>
                </a:lnTo>
                <a:lnTo>
                  <a:pt x="2677414" y="6253226"/>
                </a:lnTo>
                <a:close/>
                <a:moveTo>
                  <a:pt x="2430907" y="6253226"/>
                </a:moveTo>
                <a:lnTo>
                  <a:pt x="2383536" y="6383909"/>
                </a:lnTo>
                <a:lnTo>
                  <a:pt x="2371344" y="6395466"/>
                </a:lnTo>
                <a:lnTo>
                  <a:pt x="2407285" y="6395466"/>
                </a:lnTo>
                <a:lnTo>
                  <a:pt x="2395601" y="6384417"/>
                </a:lnTo>
                <a:lnTo>
                  <a:pt x="2406396" y="6354318"/>
                </a:lnTo>
                <a:lnTo>
                  <a:pt x="2455799" y="6354318"/>
                </a:lnTo>
                <a:lnTo>
                  <a:pt x="2466086" y="6384417"/>
                </a:lnTo>
                <a:lnTo>
                  <a:pt x="2454402" y="6395466"/>
                </a:lnTo>
                <a:lnTo>
                  <a:pt x="2454656" y="6395466"/>
                </a:lnTo>
                <a:lnTo>
                  <a:pt x="2496947" y="6395466"/>
                </a:lnTo>
                <a:lnTo>
                  <a:pt x="2485009" y="6383909"/>
                </a:lnTo>
                <a:lnTo>
                  <a:pt x="2438527" y="6253226"/>
                </a:lnTo>
                <a:close/>
                <a:moveTo>
                  <a:pt x="2175256" y="6253226"/>
                </a:moveTo>
                <a:lnTo>
                  <a:pt x="2187448" y="6264529"/>
                </a:lnTo>
                <a:lnTo>
                  <a:pt x="2229485" y="6395466"/>
                </a:lnTo>
                <a:lnTo>
                  <a:pt x="2236851" y="6395466"/>
                </a:lnTo>
                <a:lnTo>
                  <a:pt x="2271014" y="6292469"/>
                </a:lnTo>
                <a:lnTo>
                  <a:pt x="2304161" y="6395466"/>
                </a:lnTo>
                <a:lnTo>
                  <a:pt x="2311781" y="6395466"/>
                </a:lnTo>
                <a:lnTo>
                  <a:pt x="2355088" y="6264529"/>
                </a:lnTo>
                <a:lnTo>
                  <a:pt x="2367280" y="6253226"/>
                </a:lnTo>
                <a:lnTo>
                  <a:pt x="2331339" y="6253226"/>
                </a:lnTo>
                <a:lnTo>
                  <a:pt x="2343023" y="6264275"/>
                </a:lnTo>
                <a:lnTo>
                  <a:pt x="2311400" y="6362700"/>
                </a:lnTo>
                <a:lnTo>
                  <a:pt x="2280793" y="6264275"/>
                </a:lnTo>
                <a:lnTo>
                  <a:pt x="2292477" y="6253226"/>
                </a:lnTo>
                <a:lnTo>
                  <a:pt x="2250186" y="6253226"/>
                </a:lnTo>
                <a:lnTo>
                  <a:pt x="2262124" y="6264529"/>
                </a:lnTo>
                <a:lnTo>
                  <a:pt x="2265045" y="6273927"/>
                </a:lnTo>
                <a:lnTo>
                  <a:pt x="2236470" y="6362700"/>
                </a:lnTo>
                <a:lnTo>
                  <a:pt x="2205863" y="6264275"/>
                </a:lnTo>
                <a:lnTo>
                  <a:pt x="2217547" y="6253226"/>
                </a:lnTo>
                <a:close/>
                <a:moveTo>
                  <a:pt x="1416685" y="6252845"/>
                </a:moveTo>
                <a:cubicBezTo>
                  <a:pt x="1390650" y="6252845"/>
                  <a:pt x="1378712" y="6274054"/>
                  <a:pt x="1378712" y="6287770"/>
                </a:cubicBezTo>
                <a:cubicBezTo>
                  <a:pt x="1378712" y="6298565"/>
                  <a:pt x="1384554" y="6310884"/>
                  <a:pt x="1398016" y="6320282"/>
                </a:cubicBezTo>
                <a:lnTo>
                  <a:pt x="1428623" y="6341237"/>
                </a:lnTo>
                <a:cubicBezTo>
                  <a:pt x="1436878" y="6346698"/>
                  <a:pt x="1439164" y="6354953"/>
                  <a:pt x="1439164" y="6361938"/>
                </a:cubicBezTo>
                <a:cubicBezTo>
                  <a:pt x="1439164" y="6373876"/>
                  <a:pt x="1431290" y="6386957"/>
                  <a:pt x="1414399" y="6386957"/>
                </a:cubicBezTo>
                <a:cubicBezTo>
                  <a:pt x="1410462" y="6386957"/>
                  <a:pt x="1406906" y="6386322"/>
                  <a:pt x="1404112" y="6385052"/>
                </a:cubicBezTo>
                <a:lnTo>
                  <a:pt x="1390015" y="6369177"/>
                </a:lnTo>
                <a:lnTo>
                  <a:pt x="1377188" y="6391402"/>
                </a:lnTo>
                <a:lnTo>
                  <a:pt x="1405763" y="6396736"/>
                </a:lnTo>
                <a:lnTo>
                  <a:pt x="1414484" y="6397621"/>
                </a:lnTo>
                <a:lnTo>
                  <a:pt x="1414145" y="6397752"/>
                </a:lnTo>
                <a:lnTo>
                  <a:pt x="1414526" y="6397625"/>
                </a:lnTo>
                <a:lnTo>
                  <a:pt x="1414484" y="6397621"/>
                </a:lnTo>
                <a:lnTo>
                  <a:pt x="1441672" y="6387084"/>
                </a:lnTo>
                <a:cubicBezTo>
                  <a:pt x="1449800" y="6380068"/>
                  <a:pt x="1455674" y="6369685"/>
                  <a:pt x="1455674" y="6356223"/>
                </a:cubicBezTo>
                <a:cubicBezTo>
                  <a:pt x="1455674" y="6342253"/>
                  <a:pt x="1448689" y="6333617"/>
                  <a:pt x="1441704" y="6329045"/>
                </a:cubicBezTo>
                <a:lnTo>
                  <a:pt x="1411351" y="6308090"/>
                </a:lnTo>
                <a:cubicBezTo>
                  <a:pt x="1400556" y="6300597"/>
                  <a:pt x="1394968" y="6290945"/>
                  <a:pt x="1394968" y="6283706"/>
                </a:cubicBezTo>
                <a:cubicBezTo>
                  <a:pt x="1394968" y="6268720"/>
                  <a:pt x="1408430" y="6263386"/>
                  <a:pt x="1416558" y="6263386"/>
                </a:cubicBezTo>
                <a:cubicBezTo>
                  <a:pt x="1420876" y="6263386"/>
                  <a:pt x="1423924" y="6265037"/>
                  <a:pt x="1426210" y="6265037"/>
                </a:cubicBezTo>
                <a:lnTo>
                  <a:pt x="1439418" y="6278499"/>
                </a:lnTo>
                <a:lnTo>
                  <a:pt x="1453388" y="6258814"/>
                </a:lnTo>
                <a:lnTo>
                  <a:pt x="1423797" y="6253480"/>
                </a:lnTo>
                <a:cubicBezTo>
                  <a:pt x="1421765" y="6253099"/>
                  <a:pt x="1420495" y="6252845"/>
                  <a:pt x="1416685" y="6252845"/>
                </a:cubicBezTo>
                <a:close/>
                <a:moveTo>
                  <a:pt x="2558923" y="6252591"/>
                </a:moveTo>
                <a:cubicBezTo>
                  <a:pt x="2532888" y="6252591"/>
                  <a:pt x="2520950" y="6273800"/>
                  <a:pt x="2520950" y="6287516"/>
                </a:cubicBezTo>
                <a:cubicBezTo>
                  <a:pt x="2520950" y="6298311"/>
                  <a:pt x="2526792" y="6310630"/>
                  <a:pt x="2540254" y="6320028"/>
                </a:cubicBezTo>
                <a:lnTo>
                  <a:pt x="2570861" y="6340983"/>
                </a:lnTo>
                <a:cubicBezTo>
                  <a:pt x="2579116" y="6346444"/>
                  <a:pt x="2581402" y="6354699"/>
                  <a:pt x="2581402" y="6361684"/>
                </a:cubicBezTo>
                <a:cubicBezTo>
                  <a:pt x="2581402" y="6373622"/>
                  <a:pt x="2573528" y="6386703"/>
                  <a:pt x="2556637" y="6386703"/>
                </a:cubicBezTo>
                <a:cubicBezTo>
                  <a:pt x="2552700" y="6386703"/>
                  <a:pt x="2549144" y="6386068"/>
                  <a:pt x="2546350" y="6384798"/>
                </a:cubicBezTo>
                <a:lnTo>
                  <a:pt x="2532253" y="6368923"/>
                </a:lnTo>
                <a:lnTo>
                  <a:pt x="2519426" y="6391148"/>
                </a:lnTo>
                <a:lnTo>
                  <a:pt x="2548001" y="6396482"/>
                </a:lnTo>
                <a:cubicBezTo>
                  <a:pt x="2548001" y="6396482"/>
                  <a:pt x="2552827" y="6397371"/>
                  <a:pt x="2556891" y="6397371"/>
                </a:cubicBezTo>
                <a:lnTo>
                  <a:pt x="2556637" y="6397498"/>
                </a:lnTo>
                <a:cubicBezTo>
                  <a:pt x="2574671" y="6397498"/>
                  <a:pt x="2598166" y="6382893"/>
                  <a:pt x="2598166" y="6355969"/>
                </a:cubicBezTo>
                <a:lnTo>
                  <a:pt x="2597912" y="6355969"/>
                </a:lnTo>
                <a:cubicBezTo>
                  <a:pt x="2597912" y="6341999"/>
                  <a:pt x="2590927" y="6333363"/>
                  <a:pt x="2583942" y="6328791"/>
                </a:cubicBezTo>
                <a:lnTo>
                  <a:pt x="2553589" y="6307836"/>
                </a:lnTo>
                <a:cubicBezTo>
                  <a:pt x="2542794" y="6300343"/>
                  <a:pt x="2537206" y="6290691"/>
                  <a:pt x="2537206" y="6283452"/>
                </a:cubicBezTo>
                <a:cubicBezTo>
                  <a:pt x="2537206" y="6268466"/>
                  <a:pt x="2550668" y="6263132"/>
                  <a:pt x="2558796" y="6263132"/>
                </a:cubicBezTo>
                <a:cubicBezTo>
                  <a:pt x="2563114" y="6263132"/>
                  <a:pt x="2566162" y="6264783"/>
                  <a:pt x="2568448" y="6264783"/>
                </a:cubicBezTo>
                <a:lnTo>
                  <a:pt x="2581656" y="6278245"/>
                </a:lnTo>
                <a:lnTo>
                  <a:pt x="2595626" y="6258560"/>
                </a:lnTo>
                <a:lnTo>
                  <a:pt x="2566035" y="6253226"/>
                </a:lnTo>
                <a:cubicBezTo>
                  <a:pt x="2564003" y="6252845"/>
                  <a:pt x="2562733" y="6252591"/>
                  <a:pt x="2558923" y="6252591"/>
                </a:cubicBezTo>
                <a:close/>
                <a:moveTo>
                  <a:pt x="2079371" y="6252464"/>
                </a:moveTo>
                <a:cubicBezTo>
                  <a:pt x="2067179" y="6252464"/>
                  <a:pt x="2054352" y="6259195"/>
                  <a:pt x="2045589" y="6269228"/>
                </a:cubicBezTo>
                <a:cubicBezTo>
                  <a:pt x="2037461" y="6278626"/>
                  <a:pt x="2031873" y="6293739"/>
                  <a:pt x="2028952" y="6309995"/>
                </a:cubicBezTo>
                <a:cubicBezTo>
                  <a:pt x="2028952" y="6309995"/>
                  <a:pt x="2015363" y="6309995"/>
                  <a:pt x="2015363" y="6309995"/>
                </a:cubicBezTo>
                <a:lnTo>
                  <a:pt x="2015363" y="6310249"/>
                </a:lnTo>
                <a:lnTo>
                  <a:pt x="2009648" y="6315456"/>
                </a:lnTo>
                <a:lnTo>
                  <a:pt x="2010283" y="6317488"/>
                </a:lnTo>
                <a:lnTo>
                  <a:pt x="2027809" y="6317488"/>
                </a:lnTo>
                <a:cubicBezTo>
                  <a:pt x="2025142" y="6335522"/>
                  <a:pt x="2022602" y="6351143"/>
                  <a:pt x="2018538" y="6376289"/>
                </a:cubicBezTo>
                <a:cubicBezTo>
                  <a:pt x="2012823" y="6413754"/>
                  <a:pt x="2008124" y="6426962"/>
                  <a:pt x="2004060" y="6430137"/>
                </a:cubicBezTo>
                <a:cubicBezTo>
                  <a:pt x="2002790" y="6431407"/>
                  <a:pt x="2000758" y="6431915"/>
                  <a:pt x="1998853" y="6431915"/>
                </a:cubicBezTo>
                <a:cubicBezTo>
                  <a:pt x="1996313" y="6431915"/>
                  <a:pt x="1992376" y="6430137"/>
                  <a:pt x="1989582" y="6428994"/>
                </a:cubicBezTo>
                <a:cubicBezTo>
                  <a:pt x="1987042" y="6427724"/>
                  <a:pt x="1984883" y="6429248"/>
                  <a:pt x="1983740" y="6430391"/>
                </a:cubicBezTo>
                <a:cubicBezTo>
                  <a:pt x="1982089" y="6432296"/>
                  <a:pt x="1980184" y="6435090"/>
                  <a:pt x="1980184" y="6437249"/>
                </a:cubicBezTo>
                <a:cubicBezTo>
                  <a:pt x="1980184" y="6441186"/>
                  <a:pt x="1985645" y="6443218"/>
                  <a:pt x="1989201" y="6443218"/>
                </a:cubicBezTo>
                <a:cubicBezTo>
                  <a:pt x="1993265" y="6443218"/>
                  <a:pt x="2003298" y="6440043"/>
                  <a:pt x="2012315" y="6429375"/>
                </a:cubicBezTo>
                <a:cubicBezTo>
                  <a:pt x="2019554" y="6420993"/>
                  <a:pt x="2029079" y="6401562"/>
                  <a:pt x="2037334" y="6356223"/>
                </a:cubicBezTo>
                <a:cubicBezTo>
                  <a:pt x="2038731" y="6347841"/>
                  <a:pt x="2040509" y="6339459"/>
                  <a:pt x="2044065" y="6317361"/>
                </a:cubicBezTo>
                <a:lnTo>
                  <a:pt x="2065528" y="6315329"/>
                </a:lnTo>
                <a:lnTo>
                  <a:pt x="2070227" y="6310122"/>
                </a:lnTo>
                <a:lnTo>
                  <a:pt x="2045462" y="6310122"/>
                </a:lnTo>
                <a:cubicBezTo>
                  <a:pt x="2051812" y="6273038"/>
                  <a:pt x="2057019" y="6261862"/>
                  <a:pt x="2066036" y="6261862"/>
                </a:cubicBezTo>
                <a:cubicBezTo>
                  <a:pt x="2072259" y="6261862"/>
                  <a:pt x="2077466" y="6264275"/>
                  <a:pt x="2082165" y="6268466"/>
                </a:cubicBezTo>
                <a:cubicBezTo>
                  <a:pt x="2083562" y="6269736"/>
                  <a:pt x="2085975" y="6269736"/>
                  <a:pt x="2088007" y="6268212"/>
                </a:cubicBezTo>
                <a:lnTo>
                  <a:pt x="2087753" y="6268212"/>
                </a:lnTo>
                <a:cubicBezTo>
                  <a:pt x="2089404" y="6266815"/>
                  <a:pt x="2091944" y="6263513"/>
                  <a:pt x="2091944" y="6260846"/>
                </a:cubicBezTo>
                <a:cubicBezTo>
                  <a:pt x="2092198" y="6256909"/>
                  <a:pt x="2086483" y="6252464"/>
                  <a:pt x="2079371" y="6252464"/>
                </a:cubicBezTo>
                <a:close/>
                <a:moveTo>
                  <a:pt x="3101848" y="6251321"/>
                </a:moveTo>
                <a:cubicBezTo>
                  <a:pt x="3061208" y="6251321"/>
                  <a:pt x="3032506" y="6285992"/>
                  <a:pt x="3032506" y="6324346"/>
                </a:cubicBezTo>
                <a:cubicBezTo>
                  <a:pt x="3032506" y="6362700"/>
                  <a:pt x="3061081" y="6397371"/>
                  <a:pt x="3101848" y="6397371"/>
                </a:cubicBezTo>
                <a:cubicBezTo>
                  <a:pt x="3124962" y="6397371"/>
                  <a:pt x="3134614" y="6392037"/>
                  <a:pt x="3142869" y="6387084"/>
                </a:cubicBezTo>
                <a:lnTo>
                  <a:pt x="3142869" y="6330823"/>
                </a:lnTo>
                <a:lnTo>
                  <a:pt x="3154553" y="6319520"/>
                </a:lnTo>
                <a:lnTo>
                  <a:pt x="3114548" y="6319520"/>
                </a:lnTo>
                <a:lnTo>
                  <a:pt x="3126486" y="6330823"/>
                </a:lnTo>
                <a:lnTo>
                  <a:pt x="3126486" y="6376670"/>
                </a:lnTo>
                <a:cubicBezTo>
                  <a:pt x="3122930" y="6379972"/>
                  <a:pt x="3115945" y="6386703"/>
                  <a:pt x="3101975" y="6386703"/>
                </a:cubicBezTo>
                <a:cubicBezTo>
                  <a:pt x="3068828" y="6386703"/>
                  <a:pt x="3052191" y="6354826"/>
                  <a:pt x="3052191" y="6324219"/>
                </a:cubicBezTo>
                <a:cubicBezTo>
                  <a:pt x="3052191" y="6293612"/>
                  <a:pt x="3073146" y="6261735"/>
                  <a:pt x="3101975" y="6261735"/>
                </a:cubicBezTo>
                <a:cubicBezTo>
                  <a:pt x="3109595" y="6261735"/>
                  <a:pt x="3115183" y="6263513"/>
                  <a:pt x="3120136" y="6268593"/>
                </a:cubicBezTo>
                <a:lnTo>
                  <a:pt x="3136519" y="6283960"/>
                </a:lnTo>
                <a:lnTo>
                  <a:pt x="3136519" y="6259449"/>
                </a:lnTo>
                <a:cubicBezTo>
                  <a:pt x="3127629" y="6255131"/>
                  <a:pt x="3118739" y="6251321"/>
                  <a:pt x="3101848" y="6251321"/>
                </a:cubicBezTo>
                <a:close/>
                <a:moveTo>
                  <a:pt x="3363976" y="6250051"/>
                </a:moveTo>
                <a:cubicBezTo>
                  <a:pt x="3325622" y="6250051"/>
                  <a:pt x="3304286" y="6288151"/>
                  <a:pt x="3304286" y="6324346"/>
                </a:cubicBezTo>
                <a:cubicBezTo>
                  <a:pt x="3304286" y="6360541"/>
                  <a:pt x="3325749" y="6398641"/>
                  <a:pt x="3363976" y="6398641"/>
                </a:cubicBezTo>
                <a:cubicBezTo>
                  <a:pt x="3402203" y="6398641"/>
                  <a:pt x="3423920" y="6360541"/>
                  <a:pt x="3423920" y="6324346"/>
                </a:cubicBezTo>
                <a:cubicBezTo>
                  <a:pt x="3423920" y="6288151"/>
                  <a:pt x="3402330" y="6250051"/>
                  <a:pt x="3363976" y="6250051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80873"/>
                </a:lnTo>
                <a:lnTo>
                  <a:pt x="8779129" y="380873"/>
                </a:lnTo>
                <a:lnTo>
                  <a:pt x="8779129" y="547243"/>
                </a:lnTo>
                <a:lnTo>
                  <a:pt x="8896096" y="547243"/>
                </a:lnTo>
                <a:lnTo>
                  <a:pt x="8765540" y="1033018"/>
                </a:lnTo>
                <a:cubicBezTo>
                  <a:pt x="8765540" y="1033018"/>
                  <a:pt x="8605774" y="389890"/>
                  <a:pt x="8603488" y="380873"/>
                </a:cubicBezTo>
                <a:lnTo>
                  <a:pt x="8434578" y="380873"/>
                </a:lnTo>
                <a:cubicBezTo>
                  <a:pt x="8432165" y="389636"/>
                  <a:pt x="8259319" y="1033018"/>
                  <a:pt x="8259319" y="1033018"/>
                </a:cubicBezTo>
                <a:lnTo>
                  <a:pt x="8139049" y="547243"/>
                </a:lnTo>
                <a:lnTo>
                  <a:pt x="8260715" y="547243"/>
                </a:lnTo>
                <a:lnTo>
                  <a:pt x="8260715" y="380873"/>
                </a:lnTo>
                <a:lnTo>
                  <a:pt x="7772400" y="380873"/>
                </a:lnTo>
                <a:lnTo>
                  <a:pt x="7772400" y="547243"/>
                </a:lnTo>
                <a:lnTo>
                  <a:pt x="7880604" y="547243"/>
                </a:lnTo>
                <a:cubicBezTo>
                  <a:pt x="7880604" y="547243"/>
                  <a:pt x="8067294" y="1294130"/>
                  <a:pt x="8069581" y="1303147"/>
                </a:cubicBezTo>
                <a:lnTo>
                  <a:pt x="8331708" y="1303147"/>
                </a:lnTo>
                <a:cubicBezTo>
                  <a:pt x="8333994" y="1294384"/>
                  <a:pt x="8456803" y="827532"/>
                  <a:pt x="8456803" y="827532"/>
                </a:cubicBezTo>
                <a:cubicBezTo>
                  <a:pt x="8456803" y="827532"/>
                  <a:pt x="8573389" y="1294130"/>
                  <a:pt x="8575675" y="1303147"/>
                </a:cubicBezTo>
                <a:lnTo>
                  <a:pt x="8837803" y="1303147"/>
                </a:lnTo>
                <a:cubicBezTo>
                  <a:pt x="8840216" y="1294257"/>
                  <a:pt x="9036685" y="547243"/>
                  <a:pt x="9036685" y="547243"/>
                </a:cubicBezTo>
                <a:lnTo>
                  <a:pt x="9144000" y="547243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2577" y="1831426"/>
            <a:ext cx="10646844" cy="3195149"/>
          </a:xfrm>
          <a:prstGeom prst="rect">
            <a:avLst/>
          </a:prstGeom>
        </p:spPr>
        <p:txBody>
          <a:bodyPr anchor="ctr"/>
          <a:lstStyle>
            <a:lvl1pPr algn="ctr">
              <a:defRPr sz="65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BRAND POWERPOINT TEMPLATE </a:t>
            </a:r>
          </a:p>
        </p:txBody>
      </p:sp>
    </p:spTree>
    <p:extLst>
      <p:ext uri="{BB962C8B-B14F-4D97-AF65-F5344CB8AC3E}">
        <p14:creationId xmlns:p14="http://schemas.microsoft.com/office/powerpoint/2010/main" val="1968527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3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BF04F8D-DF1C-573B-F8D1-9C0A742109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589"/>
            <a:ext cx="6179300" cy="6854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D6DBBD-6D9A-8E36-9F58-47B0CE55DCDE}"/>
              </a:ext>
            </a:extLst>
          </p:cNvPr>
          <p:cNvSpPr/>
          <p:nvPr userDrawn="1"/>
        </p:nvSpPr>
        <p:spPr>
          <a:xfrm>
            <a:off x="6179301" y="1588"/>
            <a:ext cx="6012700" cy="6856412"/>
          </a:xfrm>
          <a:prstGeom prst="rect">
            <a:avLst/>
          </a:prstGeom>
          <a:solidFill>
            <a:srgbClr val="2600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600" b="1">
                <a:solidFill>
                  <a:schemeClr val="bg2"/>
                </a:solidFill>
                <a:latin typeface="Encode Sans Normal Black"/>
              </a:rPr>
              <a:t>TITLE HERE</a:t>
            </a:r>
          </a:p>
          <a:p>
            <a:pPr algn="ctr"/>
            <a:r>
              <a:rPr lang="en-US" sz="3600" b="1">
                <a:solidFill>
                  <a:schemeClr val="bg2"/>
                </a:solidFill>
                <a:latin typeface="Encode Sans Normal Black"/>
              </a:rPr>
              <a:t>ENCODE SANS 36</a:t>
            </a:r>
            <a:endParaRPr lang="en-US" sz="4400">
              <a:solidFill>
                <a:schemeClr val="bg2"/>
              </a:solidFill>
              <a:latin typeface="Encode Sans Normal Black"/>
            </a:endParaRPr>
          </a:p>
        </p:txBody>
      </p:sp>
    </p:spTree>
    <p:extLst>
      <p:ext uri="{BB962C8B-B14F-4D97-AF65-F5344CB8AC3E}">
        <p14:creationId xmlns:p14="http://schemas.microsoft.com/office/powerpoint/2010/main" val="16535171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B0B6D1C-AD68-9EDE-02F2-6292A447D5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537" y="2444491"/>
            <a:ext cx="6827916" cy="998440"/>
          </a:xfrm>
          <a:prstGeom prst="rect">
            <a:avLst/>
          </a:prstGeom>
        </p:spPr>
        <p:txBody>
          <a:bodyPr anchor="ctr"/>
          <a:lstStyle>
            <a:lvl1pPr algn="ctr">
              <a:defRPr sz="3600" b="1" i="0">
                <a:solidFill>
                  <a:schemeClr val="bg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19837467-A856-43BA-265C-1DDF774D2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00209" y="0"/>
            <a:ext cx="4591791" cy="685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4" name="Picture 3" descr="Wordmark_center_Purple_HEX.png">
            <a:extLst>
              <a:ext uri="{FF2B5EF4-FFF2-40B4-BE49-F238E27FC236}">
                <a16:creationId xmlns:a16="http://schemas.microsoft.com/office/drawing/2014/main" id="{F7D3F21C-E332-CBAD-380C-2AA3976955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1" y="6487457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99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W Logo_Purple_2685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0852" y="5949410"/>
            <a:ext cx="1828800" cy="923544"/>
          </a:xfrm>
          <a:prstGeom prst="rect">
            <a:avLst/>
          </a:prstGeom>
        </p:spPr>
      </p:pic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053" y="6487457"/>
            <a:ext cx="3233727" cy="163374"/>
          </a:xfrm>
          <a:prstGeom prst="rect">
            <a:avLst/>
          </a:prstGeom>
        </p:spPr>
      </p:pic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84" y="4006085"/>
            <a:ext cx="3045737" cy="11277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95676" y="1167124"/>
            <a:ext cx="9296400" cy="2641756"/>
          </a:xfrm>
          <a:prstGeom prst="rect">
            <a:avLst/>
          </a:prstGeom>
        </p:spPr>
        <p:txBody>
          <a:bodyPr anchor="b"/>
          <a:lstStyle>
            <a:lvl1pPr algn="l">
              <a:defRPr sz="5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</p:spTree>
    <p:extLst>
      <p:ext uri="{BB962C8B-B14F-4D97-AF65-F5344CB8AC3E}">
        <p14:creationId xmlns:p14="http://schemas.microsoft.com/office/powerpoint/2010/main" val="23080592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94A3A0B-AD40-823C-056C-52FF622B8F16}"/>
              </a:ext>
            </a:extLst>
          </p:cNvPr>
          <p:cNvSpPr/>
          <p:nvPr userDrawn="1"/>
        </p:nvSpPr>
        <p:spPr>
          <a:xfrm>
            <a:off x="0" y="1793"/>
            <a:ext cx="12192000" cy="33042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 descr="Bar_RtAngle_7502_RGB.png">
            <a:extLst>
              <a:ext uri="{FF2B5EF4-FFF2-40B4-BE49-F238E27FC236}">
                <a16:creationId xmlns:a16="http://schemas.microsoft.com/office/drawing/2014/main" id="{9BD09656-480A-8A1B-CE1C-0F8EC2F499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588" y="3179438"/>
            <a:ext cx="4001992" cy="249562"/>
          </a:xfrm>
          <a:prstGeom prst="rect">
            <a:avLst/>
          </a:prstGeom>
        </p:spPr>
      </p:pic>
      <p:pic>
        <p:nvPicPr>
          <p:cNvPr id="8" name="Picture 7" descr="Bar_RtAngle_7502_RGB.png">
            <a:extLst>
              <a:ext uri="{FF2B5EF4-FFF2-40B4-BE49-F238E27FC236}">
                <a16:creationId xmlns:a16="http://schemas.microsoft.com/office/drawing/2014/main" id="{0E606243-42C8-699B-5FA2-90927FAC75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38025" y="3179438"/>
            <a:ext cx="4001992" cy="249562"/>
          </a:xfrm>
          <a:prstGeom prst="rect">
            <a:avLst/>
          </a:prstGeom>
        </p:spPr>
      </p:pic>
      <p:pic>
        <p:nvPicPr>
          <p:cNvPr id="10" name="Picture 9" descr="UW_W Logo_White.png">
            <a:extLst>
              <a:ext uri="{FF2B5EF4-FFF2-40B4-BE49-F238E27FC236}">
                <a16:creationId xmlns:a16="http://schemas.microsoft.com/office/drawing/2014/main" id="{61980F75-DA9D-9F72-C13A-CFD15CED06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753" y="5945854"/>
            <a:ext cx="1828800" cy="9235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E391035-746D-18FE-DC5F-6A4119E0027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3112" y="6354234"/>
            <a:ext cx="3386667" cy="2667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324081" y="1561370"/>
            <a:ext cx="9296400" cy="1192786"/>
          </a:xfrm>
          <a:prstGeom prst="rect">
            <a:avLst/>
          </a:prstGeom>
        </p:spPr>
        <p:txBody>
          <a:bodyPr anchor="b"/>
          <a:lstStyle>
            <a:lvl1pPr algn="ctr">
              <a:defRPr sz="5000" b="1" i="0">
                <a:solidFill>
                  <a:schemeClr val="bg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2877522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4" y="1288473"/>
            <a:ext cx="10929485" cy="4981698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1" y="6487457"/>
            <a:ext cx="3233727" cy="163374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032" y="1078276"/>
            <a:ext cx="1810912" cy="670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9074" y="385948"/>
            <a:ext cx="10912884" cy="606050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(ENCODE NORMAL BLACK, 30 )</a:t>
            </a:r>
          </a:p>
        </p:txBody>
      </p:sp>
    </p:spTree>
    <p:extLst>
      <p:ext uri="{BB962C8B-B14F-4D97-AF65-F5344CB8AC3E}">
        <p14:creationId xmlns:p14="http://schemas.microsoft.com/office/powerpoint/2010/main" val="24361339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4" y="1852863"/>
            <a:ext cx="10929485" cy="4417308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95676" y="1261748"/>
            <a:ext cx="10912883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572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1" y="6487457"/>
            <a:ext cx="3233727" cy="163374"/>
          </a:xfrm>
          <a:prstGeom prst="rect">
            <a:avLst/>
          </a:prstGeom>
        </p:spPr>
      </p:pic>
      <p:pic>
        <p:nvPicPr>
          <p:cNvPr id="3" name="Picture 2" descr="Bar_RtAngle_7502_RGB.png">
            <a:extLst>
              <a:ext uri="{FF2B5EF4-FFF2-40B4-BE49-F238E27FC236}">
                <a16:creationId xmlns:a16="http://schemas.microsoft.com/office/drawing/2014/main" id="{47BAD570-5797-2F0E-4042-C156CE80F2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032" y="1078276"/>
            <a:ext cx="1810912" cy="670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019CE3-36EF-24D8-D856-0CD4C0681D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9074" y="385948"/>
            <a:ext cx="10912884" cy="606050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(ENCODE NORMAL BLACK, 30 )</a:t>
            </a:r>
          </a:p>
        </p:txBody>
      </p:sp>
    </p:spTree>
    <p:extLst>
      <p:ext uri="{BB962C8B-B14F-4D97-AF65-F5344CB8AC3E}">
        <p14:creationId xmlns:p14="http://schemas.microsoft.com/office/powerpoint/2010/main" val="36013859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1" y="6487457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9650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6" y="371511"/>
            <a:ext cx="10912883" cy="41860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3" y="1154097"/>
            <a:ext cx="10928280" cy="4598125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7" name="Picture 6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867509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900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9129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2400" y="6527800"/>
            <a:ext cx="1422400" cy="243417"/>
          </a:xfr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17200" y="6547218"/>
            <a:ext cx="14224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Bar_RtAngle_7502_RGB.png">
            <a:extLst>
              <a:ext uri="{FF2B5EF4-FFF2-40B4-BE49-F238E27FC236}">
                <a16:creationId xmlns:a16="http://schemas.microsoft.com/office/drawing/2014/main" id="{9229303B-AB76-695B-95F0-E53FB3D91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16" y="889000"/>
            <a:ext cx="2667995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00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792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103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2400" y="6527800"/>
            <a:ext cx="1422400" cy="243417"/>
          </a:xfr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17200" y="6547218"/>
            <a:ext cx="14224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Bar_RtAngle_7502_RGB.png">
            <a:extLst>
              <a:ext uri="{FF2B5EF4-FFF2-40B4-BE49-F238E27FC236}">
                <a16:creationId xmlns:a16="http://schemas.microsoft.com/office/drawing/2014/main" id="{9229303B-AB76-695B-95F0-E53FB3D91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16" y="889000"/>
            <a:ext cx="2667995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993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2400" y="6527800"/>
            <a:ext cx="1422400" cy="243417"/>
          </a:xfr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17200" y="6547218"/>
            <a:ext cx="14224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Bar_RtAngle_7502_RGB.png">
            <a:extLst>
              <a:ext uri="{FF2B5EF4-FFF2-40B4-BE49-F238E27FC236}">
                <a16:creationId xmlns:a16="http://schemas.microsoft.com/office/drawing/2014/main" id="{9229303B-AB76-695B-95F0-E53FB3D91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16" y="889000"/>
            <a:ext cx="2667995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354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2400" y="6527800"/>
            <a:ext cx="1422400" cy="243417"/>
          </a:xfr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17200" y="6547218"/>
            <a:ext cx="14224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38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11.emf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503706-950D-C07D-C91A-FB1593A212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855079793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03706-950D-C07D-C91A-FB1593A21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884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704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7F22C15-6FC9-FF6F-D1FA-5E9CBE377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45347979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F22C15-6FC9-FF6F-D1FA-5E9CBE377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216310" y="6356356"/>
            <a:ext cx="5481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16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</p:sldLayoutIdLst>
  <p:hf hdr="0" ftr="0" dt="0"/>
  <p:txStyles>
    <p:titleStyle>
      <a:lvl1pPr algn="ctr" defTabSz="4572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8" indent="-342908" algn="l" defTabSz="457212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8" algn="l" defTabSz="457212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45721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457212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457212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508790D-9C3E-D595-D997-4BA61B4AD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3689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08790D-9C3E-D595-D997-4BA61B4AD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7529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5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15.svg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svg"/><Relationship Id="rId5" Type="http://schemas.openxmlformats.org/officeDocument/2006/relationships/image" Target="../media/image22.sv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5.sv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facilities.uw.edu/catalog/space-manager" TargetMode="External"/><Relationship Id="rId4" Type="http://schemas.openxmlformats.org/officeDocument/2006/relationships/hyperlink" Target="https://uw.bridgeapp.com/learner/course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7DDDB11-87D2-03B0-EE5A-5ADAAF53EA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530600"/>
            <a:ext cx="12191999" cy="3327401"/>
          </a:xfrm>
          <a:prstGeom prst="rect">
            <a:avLst/>
          </a:prstGeom>
          <a:solidFill>
            <a:srgbClr val="4B2E83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903CC7-0695-5560-FFE1-094C76D87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905" y="5021913"/>
            <a:ext cx="10500188" cy="1366891"/>
          </a:xfrm>
        </p:spPr>
        <p:txBody>
          <a:bodyPr/>
          <a:lstStyle/>
          <a:p>
            <a:r>
              <a:rPr lang="en-US" dirty="0"/>
              <a:t>InVision Replacement </a:t>
            </a:r>
            <a:br>
              <a:rPr lang="en-US" sz="2400" dirty="0"/>
            </a:br>
            <a:r>
              <a:rPr lang="en-US" sz="2800" dirty="0">
                <a:solidFill>
                  <a:schemeClr val="tx1">
                    <a:lumMod val="50000"/>
                  </a:schemeClr>
                </a:solidFill>
              </a:rPr>
              <a:t>Private Business Use (PBU) Training</a:t>
            </a:r>
            <a:br>
              <a:rPr lang="en-US" dirty="0"/>
            </a:br>
            <a:r>
              <a:rPr lang="en-US" sz="2800" dirty="0"/>
              <a:t>2025</a:t>
            </a:r>
            <a:endParaRPr lang="en-US" sz="2400" dirty="0"/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A8FBB52E-D532-CDF8-D0C1-A01BECF3B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6" b="20192"/>
          <a:stretch>
            <a:fillRect/>
          </a:stretch>
        </p:blipFill>
        <p:spPr>
          <a:xfrm>
            <a:off x="0" y="0"/>
            <a:ext cx="12192000" cy="3530600"/>
          </a:xfrm>
        </p:spPr>
      </p:pic>
    </p:spTree>
    <p:extLst>
      <p:ext uri="{BB962C8B-B14F-4D97-AF65-F5344CB8AC3E}">
        <p14:creationId xmlns:p14="http://schemas.microsoft.com/office/powerpoint/2010/main" val="2500770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37E67-E420-CA8E-A6E0-A2E9547E99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FE2112A3-06E7-E2DE-E66C-156AED745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9048" y="4113842"/>
            <a:ext cx="6080760" cy="27432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rgbClr val="32006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CFB299F-6EC7-94E8-A93C-CB0B9B13C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9664" y="1370643"/>
            <a:ext cx="6080760" cy="5486400"/>
          </a:xfrm>
          <a:prstGeom prst="rect">
            <a:avLst/>
          </a:prstGeom>
          <a:solidFill>
            <a:schemeClr val="bg2"/>
          </a:solidFill>
          <a:ln w="12700">
            <a:solidFill>
              <a:srgbClr val="32006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CEDA04A-9BD3-A219-D139-744D2ADEBA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9832" y="2268479"/>
            <a:ext cx="5431707" cy="264795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defTabSz="609630" fontAlgn="ctr">
              <a:defRPr/>
            </a:pPr>
            <a:r>
              <a:rPr lang="en-US" sz="1400" u="sng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ace to Face HELP in Units</a:t>
            </a:r>
          </a:p>
          <a:p>
            <a:pPr lvl="0" algn="ctr" defTabSz="609630" fontAlgn="ctr">
              <a:defRPr/>
            </a:pPr>
            <a:endParaRPr lang="en-US" sz="1400" u="sng">
              <a:solidFill>
                <a:srgbClr val="32006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extBox 2">
            <a:extLst>
              <a:ext uri="{FF2B5EF4-FFF2-40B4-BE49-F238E27FC236}">
                <a16:creationId xmlns:a16="http://schemas.microsoft.com/office/drawing/2014/main" id="{634DB248-27E8-E37A-E527-D862F0EC4ECE}"/>
              </a:ext>
            </a:extLst>
          </p:cNvPr>
          <p:cNvSpPr txBox="1"/>
          <p:nvPr/>
        </p:nvSpPr>
        <p:spPr>
          <a:xfrm>
            <a:off x="758595" y="380923"/>
            <a:ext cx="9466419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4000"/>
              </a:lnSpc>
              <a:defRPr/>
            </a:pPr>
            <a:r>
              <a:rPr lang="en-US" sz="3200" dirty="0" err="1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M:Systems</a:t>
            </a:r>
            <a:r>
              <a:rPr lang="en-US" sz="3200" dirty="0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upport Framework</a:t>
            </a:r>
          </a:p>
        </p:txBody>
      </p:sp>
      <p:sp>
        <p:nvSpPr>
          <p:cNvPr id="2" name="Freeform 3">
            <a:extLst>
              <a:ext uri="{FF2B5EF4-FFF2-40B4-BE49-F238E27FC236}">
                <a16:creationId xmlns:a16="http://schemas.microsoft.com/office/drawing/2014/main" id="{9CD1820C-52C5-3ED8-C00F-D6C537E18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TextBox 60">
            <a:extLst>
              <a:ext uri="{FF2B5EF4-FFF2-40B4-BE49-F238E27FC236}">
                <a16:creationId xmlns:a16="http://schemas.microsoft.com/office/drawing/2014/main" id="{339C8A0C-F194-2651-CBE6-CD2C93E8402C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2006E"/>
                </a:solidFill>
                <a:latin typeface="Uni Sans"/>
              </a:rPr>
              <a:t>Need Help? Here’s Where to Find I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Uni Sans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6C4EA18-FB97-54BF-42D1-AABFA2214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51405" y="2095499"/>
            <a:ext cx="3812276" cy="1505585"/>
          </a:xfrm>
          <a:prstGeom prst="roundRect">
            <a:avLst/>
          </a:prstGeom>
          <a:solidFill>
            <a:srgbClr val="32006E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09630">
              <a:defRPr/>
            </a:pPr>
            <a:r>
              <a:rPr lang="en-US" sz="1200" u="sng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FORMAT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EC54571-3482-B5F0-7CFE-00B1E74D0F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45328"/>
              </p:ext>
            </p:extLst>
          </p:nvPr>
        </p:nvGraphicFramePr>
        <p:xfrm>
          <a:off x="8560378" y="2371326"/>
          <a:ext cx="3125787" cy="1066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25787">
                  <a:extLst>
                    <a:ext uri="{9D8B030D-6E8A-4147-A177-3AD203B41FA5}">
                      <a16:colId xmlns:a16="http://schemas.microsoft.com/office/drawing/2014/main" val="1098793455"/>
                    </a:ext>
                  </a:extLst>
                </a:gridCol>
              </a:tblGrid>
              <a:tr h="799628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unch &amp; Learns: 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 23</a:t>
                      </a:r>
                      <a:r>
                        <a:rPr lang="en-US" sz="1100" b="0" kern="1200" baseline="300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d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– Oct 21</a:t>
                      </a:r>
                      <a:r>
                        <a:rPr lang="en-US" sz="1100" b="0" kern="1200" baseline="300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t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 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raining Format: 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ideo Microlearning's 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AQs and Job aids:  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RL address</a:t>
                      </a:r>
                      <a:endParaRPr lang="en-US" sz="1100" b="0" kern="1200" baseline="300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2880802077"/>
                  </a:ext>
                </a:extLst>
              </a:tr>
            </a:tbl>
          </a:graphicData>
        </a:graphic>
      </p:graphicFrame>
      <p:pic>
        <p:nvPicPr>
          <p:cNvPr id="13" name="Graphic 12">
            <a:extLst>
              <a:ext uri="{FF2B5EF4-FFF2-40B4-BE49-F238E27FC236}">
                <a16:creationId xmlns:a16="http://schemas.microsoft.com/office/drawing/2014/main" id="{E00EEAB2-BBFE-B4BA-E6BC-56B92C353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83782" y="2739024"/>
            <a:ext cx="446836" cy="426720"/>
          </a:xfrm>
          <a:prstGeom prst="rect">
            <a:avLst/>
          </a:prstGeom>
        </p:spPr>
      </p:pic>
      <p:sp>
        <p:nvSpPr>
          <p:cNvPr id="3" name="Google Shape;671;p74">
            <a:extLst>
              <a:ext uri="{FF2B5EF4-FFF2-40B4-BE49-F238E27FC236}">
                <a16:creationId xmlns:a16="http://schemas.microsoft.com/office/drawing/2014/main" id="{A478F11C-5619-A863-7C02-F63A37048E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73462" y="2715322"/>
            <a:ext cx="5103855" cy="1980987"/>
          </a:xfrm>
          <a:prstGeom prst="rect">
            <a:avLst/>
          </a:prstGeom>
          <a:noFill/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43833" tIns="60933" rIns="243833" bIns="60933" anchor="t" anchorCtr="0">
            <a:noAutofit/>
          </a:bodyPr>
          <a:lstStyle/>
          <a:p>
            <a:pPr algn="ctr" defTabSz="1219261">
              <a:buClr>
                <a:srgbClr val="000000"/>
              </a:buClr>
            </a:pPr>
            <a:r>
              <a:rPr lang="en" sz="1100" b="1" kern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Supports 76% of all Users</a:t>
            </a:r>
            <a:endParaRPr sz="1100" kern="0">
              <a:solidFill>
                <a:srgbClr val="88888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BCB2F5B-BAB5-929F-E75D-60151DB794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260086" y="3102629"/>
            <a:ext cx="1005840" cy="235898"/>
          </a:xfrm>
          <a:prstGeom prst="rect">
            <a:avLst/>
          </a:prstGeom>
          <a:solidFill>
            <a:schemeClr val="bg1"/>
          </a:solidFill>
          <a:ln>
            <a:solidFill>
              <a:srgbClr val="32006E"/>
            </a:solidFill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en-US" sz="933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icin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109EBB-C8A6-95A9-C026-F933C28E2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470521" y="3102629"/>
            <a:ext cx="1005840" cy="2358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32006E"/>
            </a:solidFill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en-US" sz="933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 Campuses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129EA246-88D9-EA59-D838-4EA0008576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8212" y="3693029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DE75AE2E-9F24-0079-DC02-65A7FCF316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084370" y="3102629"/>
            <a:ext cx="1007006" cy="235898"/>
          </a:xfrm>
          <a:prstGeom prst="rect">
            <a:avLst/>
          </a:prstGeom>
          <a:solidFill>
            <a:schemeClr val="bg1"/>
          </a:solidFill>
          <a:ln>
            <a:solidFill>
              <a:srgbClr val="32006E"/>
            </a:solidFill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en-US" sz="933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hared Service</a:t>
            </a: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A05B80B9-1037-16F6-9166-1F1FCF89BC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03394" y="3523183"/>
            <a:ext cx="320040" cy="32004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DB4CCFD6-EBF8-4723-0D48-B04DAC5164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11037" y="3878703"/>
            <a:ext cx="320040" cy="32004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5D34BBFE-3C9C-AEC6-E268-9FDB04E52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852794" y="3560093"/>
            <a:ext cx="58101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B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148F5CE-B596-683C-8333-D4D32A3337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842390" y="3915613"/>
            <a:ext cx="58101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T</a:t>
            </a:r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F90951A6-F40A-F058-A8B9-7A3E1C0D8C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28434" y="3528098"/>
            <a:ext cx="320040" cy="32004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A8100765-AA02-BC94-8E9C-A876017266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36077" y="3883618"/>
            <a:ext cx="320040" cy="32004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31EDF6BE-71AC-2462-CA43-5B90D5E8D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672638" y="3589580"/>
            <a:ext cx="58101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MC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D40921B-69F7-6EE0-ED0B-17BA57167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628680" y="3968950"/>
            <a:ext cx="66893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MC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9B5D822D-0B8B-5E1A-F371-08917A16B9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6205" y="3448952"/>
            <a:ext cx="274320" cy="27432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3EE4053F-4521-1F2D-666C-F9F88FFC7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1287" y="3732365"/>
            <a:ext cx="274320" cy="274320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D44450C7-90CE-E11B-6FB2-B3BF97BE8F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609435" y="3448260"/>
            <a:ext cx="54864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3D0F6AB-ACFE-5193-2A73-D9FCAE4D4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655155" y="3728481"/>
            <a:ext cx="4572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PR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2D254BF-7E74-97FD-92C4-36FCAA22E9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534484" y="4036472"/>
            <a:ext cx="698543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1219261"/>
            <a:r>
              <a:rPr lang="en" sz="1000" kern="0">
                <a:latin typeface="Open Sans"/>
                <a:ea typeface="Open Sans"/>
                <a:cs typeface="Open Sans"/>
              </a:rPr>
              <a:t>Facilites</a:t>
            </a:r>
            <a:endParaRPr lang="en" sz="1000" kern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F5EA77E6-9C3D-B06D-C129-4A109E0AB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70293" y="3998849"/>
            <a:ext cx="320040" cy="32004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C365B194-05CC-E474-A1F6-837261C144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57683" y="4025738"/>
            <a:ext cx="274320" cy="27432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2C835CCB-B5C6-1673-A47A-428FD0B18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8212" y="3412810"/>
            <a:ext cx="914400" cy="914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AE38E89A-9500-D581-B2C5-D5C033477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35726" y="3399039"/>
            <a:ext cx="1492164" cy="61526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70582BA-EE73-5F5C-5FB1-CA321B91BD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40293" y="3102629"/>
            <a:ext cx="1143000" cy="235898"/>
          </a:xfrm>
          <a:prstGeom prst="rect">
            <a:avLst/>
          </a:prstGeom>
          <a:solidFill>
            <a:schemeClr val="bg1"/>
          </a:solidFill>
          <a:ln>
            <a:solidFill>
              <a:srgbClr val="32006E"/>
            </a:solidFill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en-US" sz="933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lleges</a:t>
            </a: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E7F40C2B-A53F-FE2D-7517-45816B1EBE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5392" y="3718631"/>
            <a:ext cx="320040" cy="32004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554E56D0-3005-0360-905D-187E721A08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3159" y="3743922"/>
            <a:ext cx="274320" cy="27432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E92AAE82-BBC6-06DE-9600-6B9A7F049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3972" y="3444036"/>
            <a:ext cx="274320" cy="274320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9EBBABF5-5894-3252-6684-60B5CFDAB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303636" y="3463012"/>
            <a:ext cx="59436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Env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5F34EFD-F3A1-069D-955A-B1BA281235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303636" y="3733401"/>
            <a:ext cx="59436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EDDE3A6-7BEA-EE08-090D-13586CCEBB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303636" y="4041392"/>
            <a:ext cx="59436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39F3C0F-AEAD-3CC1-CAED-37A5C849F0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303636" y="4311776"/>
            <a:ext cx="59436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M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F6E0441D-8376-12A0-ABAF-B4532F5979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72432" y="5218895"/>
            <a:ext cx="2879846" cy="1370213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defTabSz="609630" fontAlgn="ctr">
              <a:defRPr/>
            </a:pPr>
            <a:r>
              <a:rPr lang="en-US" sz="1400" u="sng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LP DESK (uwftech@uw.edu)</a:t>
            </a:r>
          </a:p>
          <a:p>
            <a:pPr algn="ctr" defTabSz="609630" fontAlgn="ctr">
              <a:defRPr/>
            </a:pPr>
            <a:r>
              <a:rPr lang="en-US" sz="1100" b="1" kern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Supports 24% of all Users</a:t>
            </a:r>
            <a:endParaRPr lang="en-US" sz="1100" kern="0">
              <a:solidFill>
                <a:srgbClr val="88888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Calibri"/>
            </a:endParaRPr>
          </a:p>
          <a:p>
            <a:pPr lvl="0" algn="ctr" defTabSz="609630" fontAlgn="ctr">
              <a:defRPr/>
            </a:pPr>
            <a:endParaRPr lang="en-US" sz="1400" u="sng">
              <a:solidFill>
                <a:srgbClr val="32006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B629D4-114E-BCFB-DDFA-EF840822CD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960" y="5815306"/>
            <a:ext cx="524041" cy="5981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AAF0B6A-8750-9230-D061-B31DBE60A8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2476" y="5815306"/>
            <a:ext cx="524041" cy="5981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31E16F2-5941-FED4-160A-2579DD8A7B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993" y="5815306"/>
            <a:ext cx="524041" cy="59817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AA894C2-9B2C-9CCB-E70B-EDBC83DB98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4799" y="1370642"/>
            <a:ext cx="6080760" cy="2743200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rgbClr val="32006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656C23-6F0F-7FAE-5DE7-50F0442E4AAF}"/>
              </a:ext>
            </a:extLst>
          </p:cNvPr>
          <p:cNvSpPr txBox="1"/>
          <p:nvPr/>
        </p:nvSpPr>
        <p:spPr>
          <a:xfrm>
            <a:off x="26274" y="1612866"/>
            <a:ext cx="608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er 1: First stop for simple solution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6A91B0-FEC7-E437-754C-F918B708F47E}"/>
              </a:ext>
            </a:extLst>
          </p:cNvPr>
          <p:cNvSpPr txBox="1"/>
          <p:nvPr/>
        </p:nvSpPr>
        <p:spPr>
          <a:xfrm>
            <a:off x="6111240" y="1612866"/>
            <a:ext cx="608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er 2: Next-level support for escalated issues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1BF8248-4519-AE29-5912-A644FEC8A992}"/>
              </a:ext>
            </a:extLst>
          </p:cNvPr>
          <p:cNvSpPr txBox="1"/>
          <p:nvPr/>
        </p:nvSpPr>
        <p:spPr>
          <a:xfrm>
            <a:off x="6100424" y="4351774"/>
            <a:ext cx="608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er 3: Handles the hardest problem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FBB9F60-82E7-97D5-BBE4-2AF411B357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58929" y="2439155"/>
            <a:ext cx="3419287" cy="111178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defTabSz="609630" fontAlgn="ctr">
              <a:defRPr/>
            </a:pPr>
            <a:r>
              <a:rPr lang="en-US" sz="1400" u="sng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F: BIT (Escalation from Tier 1)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EF8D8FD2-CBFE-2098-DE65-0FE9C37F9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48532" y="2798738"/>
            <a:ext cx="640080" cy="640080"/>
          </a:xfrm>
          <a:prstGeom prst="rect">
            <a:avLst/>
          </a:prstGeom>
        </p:spPr>
      </p:pic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BF2432E-9570-2920-21B4-09A181161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58929" y="5049125"/>
            <a:ext cx="3419287" cy="1111785"/>
          </a:xfrm>
          <a:prstGeom prst="roundRect">
            <a:avLst/>
          </a:prstGeom>
          <a:solidFill>
            <a:srgbClr val="32006E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defTabSz="609630" fontAlgn="ctr">
              <a:defRPr/>
            </a:pPr>
            <a:r>
              <a:rPr lang="en-US" sz="1400" u="sng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MS (Escalation from Tier 2)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D2B1BCE-097B-00B9-03EF-24EA0D4217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48532" y="5429872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90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1" grpId="0"/>
      <p:bldP spid="22" grpId="0"/>
      <p:bldP spid="23" grpId="0" animBg="1"/>
      <p:bldP spid="3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244A83-99FF-0050-F8B3-F2EA20CF75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445" y="1119546"/>
            <a:ext cx="8409109" cy="5607825"/>
          </a:xfrm>
          <a:prstGeom prst="rect">
            <a:avLst/>
          </a:prstGeom>
        </p:spPr>
      </p:pic>
      <p:sp>
        <p:nvSpPr>
          <p:cNvPr id="4" name="TextBox 2">
            <a:extLst>
              <a:ext uri="{FF2B5EF4-FFF2-40B4-BE49-F238E27FC236}">
                <a16:creationId xmlns:a16="http://schemas.microsoft.com/office/drawing/2014/main" id="{496FA899-40AB-B89B-FCE7-74E3448242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758595" y="380923"/>
            <a:ext cx="9466419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ank you!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974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113655-5C79-3E72-E5C2-ED1FD1BCA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">
            <a:extLst>
              <a:ext uri="{FF2B5EF4-FFF2-40B4-BE49-F238E27FC236}">
                <a16:creationId xmlns:a16="http://schemas.microsoft.com/office/drawing/2014/main" id="{9C6F18F3-1010-A807-82AD-348CF33C9520}"/>
              </a:ext>
            </a:extLst>
          </p:cNvPr>
          <p:cNvSpPr txBox="1"/>
          <p:nvPr/>
        </p:nvSpPr>
        <p:spPr>
          <a:xfrm>
            <a:off x="758595" y="380923"/>
            <a:ext cx="9466419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4000"/>
              </a:lnSpc>
              <a:defRPr/>
            </a:pPr>
            <a:r>
              <a:rPr lang="en-US" sz="3200" dirty="0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genda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6095B6CD-BA5E-C3A9-651E-778DF98A2F71}"/>
              </a:ext>
            </a:extLst>
          </p:cNvPr>
          <p:cNvSpPr txBox="1">
            <a:spLocks/>
          </p:cNvSpPr>
          <p:nvPr/>
        </p:nvSpPr>
        <p:spPr>
          <a:xfrm>
            <a:off x="3351497" y="4367588"/>
            <a:ext cx="10494677" cy="44173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Resources and Access Requirements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M:Systems</a:t>
            </a:r>
            <a:r>
              <a:rPr lang="en-US" sz="24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upport Framework</a:t>
            </a:r>
          </a:p>
        </p:txBody>
      </p:sp>
      <p:pic>
        <p:nvPicPr>
          <p:cNvPr id="2" name="Picture 1" descr="Architectural floor plan of a multi‑wing building showing labeled rooms, corridors, stairwells, restrooms, and utility areas on one level">
            <a:extLst>
              <a:ext uri="{FF2B5EF4-FFF2-40B4-BE49-F238E27FC236}">
                <a16:creationId xmlns:a16="http://schemas.microsoft.com/office/drawing/2014/main" id="{FF39F28E-EF24-9CA5-0AA7-4A8D95A3F5F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595" y="1098383"/>
            <a:ext cx="9470806" cy="525104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reeform 3">
            <a:extLst>
              <a:ext uri="{FF2B5EF4-FFF2-40B4-BE49-F238E27FC236}">
                <a16:creationId xmlns:a16="http://schemas.microsoft.com/office/drawing/2014/main" id="{8DA9B9D5-E333-9C97-277D-B18B513E88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695952" y="5848847"/>
            <a:ext cx="1496048" cy="1009153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9876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E92BE2-8017-7E35-7331-985B1F170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34">
            <a:extLst>
              <a:ext uri="{FF2B5EF4-FFF2-40B4-BE49-F238E27FC236}">
                <a16:creationId xmlns:a16="http://schemas.microsoft.com/office/drawing/2014/main" id="{0B2043F2-94CC-F096-3494-100575D79555}"/>
              </a:ext>
            </a:extLst>
          </p:cNvPr>
          <p:cNvSpPr txBox="1"/>
          <p:nvPr/>
        </p:nvSpPr>
        <p:spPr>
          <a:xfrm>
            <a:off x="829601" y="382864"/>
            <a:ext cx="8546204" cy="4924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D7786309-DA26-DC37-2DB5-7522BA6CAA57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32006E"/>
                </a:solidFill>
                <a:latin typeface="Uni Sans"/>
              </a:rPr>
              <a:t>Evaluation of InVision and </a:t>
            </a:r>
            <a:r>
              <a:rPr lang="en-US" sz="1600" err="1">
                <a:solidFill>
                  <a:srgbClr val="32006E"/>
                </a:solidFill>
                <a:latin typeface="Uni Sans"/>
              </a:rPr>
              <a:t>FM:System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Uni Sans"/>
              <a:ea typeface="+mn-ea"/>
              <a:cs typeface="+mn-cs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74AAE0EC-4A8D-1BE8-EF17-B1E12B0330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5415" y="1677880"/>
            <a:ext cx="11348544" cy="4835356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09630">
              <a:defRPr/>
            </a:pPr>
            <a:r>
              <a:rPr lang="en-US" sz="2000" b="1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ATURE COMPARISON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258384C-9E08-C724-8267-CA1FE2918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546900"/>
              </p:ext>
            </p:extLst>
          </p:nvPr>
        </p:nvGraphicFramePr>
        <p:xfrm>
          <a:off x="626280" y="2456503"/>
          <a:ext cx="10885117" cy="36043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08665">
                  <a:extLst>
                    <a:ext uri="{9D8B030D-6E8A-4147-A177-3AD203B41FA5}">
                      <a16:colId xmlns:a16="http://schemas.microsoft.com/office/drawing/2014/main" val="1318859407"/>
                    </a:ext>
                  </a:extLst>
                </a:gridCol>
                <a:gridCol w="1325664">
                  <a:extLst>
                    <a:ext uri="{9D8B030D-6E8A-4147-A177-3AD203B41FA5}">
                      <a16:colId xmlns:a16="http://schemas.microsoft.com/office/drawing/2014/main" val="2824883705"/>
                    </a:ext>
                  </a:extLst>
                </a:gridCol>
                <a:gridCol w="1325664">
                  <a:extLst>
                    <a:ext uri="{9D8B030D-6E8A-4147-A177-3AD203B41FA5}">
                      <a16:colId xmlns:a16="http://schemas.microsoft.com/office/drawing/2014/main" val="3410966242"/>
                    </a:ext>
                  </a:extLst>
                </a:gridCol>
                <a:gridCol w="1038327">
                  <a:extLst>
                    <a:ext uri="{9D8B030D-6E8A-4147-A177-3AD203B41FA5}">
                      <a16:colId xmlns:a16="http://schemas.microsoft.com/office/drawing/2014/main" val="1288641337"/>
                    </a:ext>
                  </a:extLst>
                </a:gridCol>
                <a:gridCol w="5186797">
                  <a:extLst>
                    <a:ext uri="{9D8B030D-6E8A-4147-A177-3AD203B41FA5}">
                      <a16:colId xmlns:a16="http://schemas.microsoft.com/office/drawing/2014/main" val="3487597334"/>
                    </a:ext>
                  </a:extLst>
                </a:gridCol>
              </a:tblGrid>
              <a:tr h="323509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Feature</a:t>
                      </a:r>
                      <a:endParaRPr lang="en-US" sz="1200" b="1" i="0" u="none" strike="noStrike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Vision </a:t>
                      </a:r>
                      <a:endParaRPr lang="en-US" sz="1200" b="1" i="0" u="none" strike="noStrike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M:Systems (FMS) </a:t>
                      </a:r>
                      <a:endParaRPr lang="en-US" sz="1200" b="1" i="0" u="none" strike="noStrike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mparison</a:t>
                      </a:r>
                      <a:endParaRPr lang="en-US" sz="1200" b="1" i="0" u="none" strike="noStrike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Description 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014492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 Data Management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milar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nage space assignments, use, and description.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521208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mployee Assignments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milar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nage assignments and monitor space utilization.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3896673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earch Data Management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milar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nage grant assignments and space functionalization.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78157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orting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ustom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proved</a:t>
                      </a:r>
                    </a:p>
                  </a:txBody>
                  <a:tcPr marL="3469" marR="3469" marT="3469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uilt-in reports and dashboards, </a:t>
                      </a:r>
                      <a:r>
                        <a:rPr lang="en-US" sz="1100" u="none" strike="noStrike" dirty="0" err="1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WS</a:t>
                      </a:r>
                      <a:r>
                        <a:rPr lang="en-US" sz="11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and EDW integration.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065664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I Percent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ustom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proved</a:t>
                      </a:r>
                    </a:p>
                  </a:txBody>
                  <a:tcPr marL="3469" marR="3469" marT="3469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 kern="1200">
                          <a:solidFill>
                            <a:schemeClr val="dk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ssign and track principal </a:t>
                      </a: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vestigator allocations.</a:t>
                      </a: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092077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udget Query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ustom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proved</a:t>
                      </a:r>
                    </a:p>
                  </a:txBody>
                  <a:tcPr marL="3469" marR="3469" marT="3469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uickly track and perform grant assignments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480709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D Integration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ustom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proved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toCAD integration with live updates.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391967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 Surveys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tu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w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4B2E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cess to validate/update space and occupancy data.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4B2E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021604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trategic Planning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63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ture functionality</a:t>
                      </a:r>
                      <a:endParaRPr kumimoji="0" lang="en-US" sz="11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w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4B2E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to forecast, model, and optimizing space usage.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4B2E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127585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ve Management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63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ture functionality</a:t>
                      </a:r>
                      <a:endParaRPr kumimoji="0" lang="en-US" sz="11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w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2E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ol for planning and performing space relocations within an organization.</a:t>
                      </a:r>
                      <a:endParaRPr lang="en-US" sz="1100" b="0" i="1" u="none" strike="noStrike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2E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1632616"/>
                  </a:ext>
                </a:extLst>
              </a:tr>
            </a:tbl>
          </a:graphicData>
        </a:graphic>
      </p:graphicFrame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87E5B16C-0F21-62E3-5517-6C1A5C62B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511722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87E5B16C-0F21-62E3-5517-6C1A5C62B107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1A6F6119-F0C9-B820-3A82-B317B4D2C4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3318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091EA2-E366-BCB5-FE26-56B4754EC0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34">
            <a:extLst>
              <a:ext uri="{FF2B5EF4-FFF2-40B4-BE49-F238E27FC236}">
                <a16:creationId xmlns:a16="http://schemas.microsoft.com/office/drawing/2014/main" id="{E4BECD21-F96A-06B5-8D13-2B32D86EFA5A}"/>
              </a:ext>
            </a:extLst>
          </p:cNvPr>
          <p:cNvSpPr txBox="1"/>
          <p:nvPr/>
        </p:nvSpPr>
        <p:spPr>
          <a:xfrm>
            <a:off x="829601" y="382864"/>
            <a:ext cx="8546204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B0703ED7-3F18-5DEB-6D39-6208CE11FCF7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2006E"/>
                </a:solidFill>
                <a:latin typeface="Uni Sans"/>
              </a:rPr>
              <a:t>Floorplans Enhancements – Clearer, more detailed visuals for space allocation and utilization.</a:t>
            </a:r>
          </a:p>
        </p:txBody>
      </p:sp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56CA34F0-5692-D0EF-E055-D1D4EE512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044960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56CA34F0-5692-D0EF-E055-D1D4EE512466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0260B4BF-5BD7-477E-2057-A47B437FAE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9" name="Picture 8" descr="Color‑coded floor plan showing labeled rooms along a central hallway, with a legend below that lists department codes and their associated departments.">
            <a:extLst>
              <a:ext uri="{FF2B5EF4-FFF2-40B4-BE49-F238E27FC236}">
                <a16:creationId xmlns:a16="http://schemas.microsoft.com/office/drawing/2014/main" id="{C27CE139-B308-BF4F-E202-D932C76FE5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3328" y="3036614"/>
            <a:ext cx="5081860" cy="3276855"/>
          </a:xfrm>
          <a:prstGeom prst="rect">
            <a:avLst/>
          </a:prstGeom>
        </p:spPr>
      </p:pic>
      <p:pic>
        <p:nvPicPr>
          <p:cNvPr id="15" name="Picture 14" descr="Simple floor plan with labeled rooms along a central hallway, stairwells at both ends, and a label above reading ‘Exterior Gross Area 2111.">
            <a:extLst>
              <a:ext uri="{FF2B5EF4-FFF2-40B4-BE49-F238E27FC236}">
                <a16:creationId xmlns:a16="http://schemas.microsoft.com/office/drawing/2014/main" id="{25F0BFF5-0D1A-30A0-ECA2-24B5D21559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9056" y="1622979"/>
            <a:ext cx="5094043" cy="2827269"/>
          </a:xfrm>
          <a:prstGeom prst="rect">
            <a:avLst/>
          </a:prstGeom>
        </p:spPr>
      </p:pic>
      <p:sp>
        <p:nvSpPr>
          <p:cNvPr id="16" name="Arrow: Bent 15">
            <a:extLst>
              <a:ext uri="{FF2B5EF4-FFF2-40B4-BE49-F238E27FC236}">
                <a16:creationId xmlns:a16="http://schemas.microsoft.com/office/drawing/2014/main" id="{037C2BFA-8B82-D022-9471-4F907B0F30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6526190" y="480448"/>
            <a:ext cx="1413636" cy="3698699"/>
          </a:xfrm>
          <a:prstGeom prst="bentArrow">
            <a:avLst/>
          </a:prstGeom>
          <a:solidFill>
            <a:srgbClr val="32006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1338EF70-F15F-4EA9-F3CD-5D6DFC85F2C6}"/>
              </a:ext>
            </a:extLst>
          </p:cNvPr>
          <p:cNvSpPr txBox="1">
            <a:spLocks/>
          </p:cNvSpPr>
          <p:nvPr/>
        </p:nvSpPr>
        <p:spPr>
          <a:xfrm>
            <a:off x="880214" y="4675041"/>
            <a:ext cx="5746618" cy="21075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rect Integration with AutoCAD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panded Color Palette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stom Views (Primary Use, Cost Center Hierarchy, Occupancy, Furniture)</a:t>
            </a:r>
          </a:p>
        </p:txBody>
      </p:sp>
    </p:spTree>
    <p:extLst>
      <p:ext uri="{BB962C8B-B14F-4D97-AF65-F5344CB8AC3E}">
        <p14:creationId xmlns:p14="http://schemas.microsoft.com/office/powerpoint/2010/main" val="3183454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02674-C3EC-69FE-4DCB-A365D3513A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34">
            <a:extLst>
              <a:ext uri="{FF2B5EF4-FFF2-40B4-BE49-F238E27FC236}">
                <a16:creationId xmlns:a16="http://schemas.microsoft.com/office/drawing/2014/main" id="{D2531B44-5987-99AF-5A83-F77F127A951D}"/>
              </a:ext>
            </a:extLst>
          </p:cNvPr>
          <p:cNvSpPr txBox="1"/>
          <p:nvPr/>
        </p:nvSpPr>
        <p:spPr>
          <a:xfrm>
            <a:off x="829601" y="382864"/>
            <a:ext cx="8546204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30DFED07-0E65-54DE-1099-621139DF30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8118725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30DFED07-0E65-54DE-1099-621139DF30D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BE63A69F-4136-7078-DBCD-0E3617495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B31F7B95-DF04-902F-D344-FE447A204794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2006E"/>
                </a:solidFill>
                <a:latin typeface="Uni Sans"/>
              </a:rPr>
              <a:t>Data Views – A simpler, smarter way to see and edit your data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Uni Sans"/>
              <a:ea typeface="+mn-ea"/>
              <a:cs typeface="+mn-cs"/>
            </a:endParaRPr>
          </a:p>
        </p:txBody>
      </p:sp>
      <p:pic>
        <p:nvPicPr>
          <p:cNvPr id="6" name="Picture 5" descr="Screenshot of a space management system showing a table of rooms at the top and detailed information for the selected room at the bottom. Three callout boxes labeled 1, 2, and 3 highlight different interface sections.">
            <a:extLst>
              <a:ext uri="{FF2B5EF4-FFF2-40B4-BE49-F238E27FC236}">
                <a16:creationId xmlns:a16="http://schemas.microsoft.com/office/drawing/2014/main" id="{56621982-333A-CE0D-CADF-243186F6ED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1182" y="1467728"/>
            <a:ext cx="10229636" cy="4904469"/>
          </a:xfrm>
          <a:prstGeom prst="rect">
            <a:avLst/>
          </a:prstGeom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E14B0EE1-7C03-8871-2ECE-FDE0950F18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83859" y="1500383"/>
            <a:ext cx="462337" cy="240496"/>
          </a:xfrm>
          <a:prstGeom prst="wedgeRectCallout">
            <a:avLst>
              <a:gd name="adj1" fmla="val -63055"/>
              <a:gd name="adj2" fmla="val -27213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1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A0E6D521-5C15-6240-5834-230C79C9CD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476972" y="1372200"/>
            <a:ext cx="462337" cy="240496"/>
          </a:xfrm>
          <a:prstGeom prst="wedgeRectCallout">
            <a:avLst>
              <a:gd name="adj1" fmla="val -20833"/>
              <a:gd name="adj2" fmla="val 66773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2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3FC8D01A-E8C4-F957-8D07-AA30C264E5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46196" y="4417648"/>
            <a:ext cx="462337" cy="240496"/>
          </a:xfrm>
          <a:prstGeom prst="wedgeRectCallout">
            <a:avLst>
              <a:gd name="adj1" fmla="val -65836"/>
              <a:gd name="adj2" fmla="val -24581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95560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8AD17-ECF1-5AE2-6524-7F87D4AD9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95DD6BB5-6967-7BAB-7F60-B3F92027DC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457625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95DD6BB5-6967-7BAB-7F60-B3F92027DC52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1B7D98A4-E01D-9C55-CB25-B624B2C1B4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3" name="TextBox 34">
            <a:extLst>
              <a:ext uri="{FF2B5EF4-FFF2-40B4-BE49-F238E27FC236}">
                <a16:creationId xmlns:a16="http://schemas.microsoft.com/office/drawing/2014/main" id="{5FF1E997-0DD8-85FE-FB53-4869CF3E99CD}"/>
              </a:ext>
            </a:extLst>
          </p:cNvPr>
          <p:cNvSpPr txBox="1"/>
          <p:nvPr/>
        </p:nvSpPr>
        <p:spPr>
          <a:xfrm>
            <a:off x="829601" y="382864"/>
            <a:ext cx="8546204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23F02167-8E80-B757-D112-EBAB309CFE14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2006E"/>
                </a:solidFill>
                <a:latin typeface="Uni Sans"/>
              </a:rPr>
              <a:t>Consolidated Research Tracking – Everything you need, all in one spot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Uni Sans"/>
              <a:ea typeface="+mn-ea"/>
              <a:cs typeface="+mn-cs"/>
            </a:endParaRPr>
          </a:p>
        </p:txBody>
      </p:sp>
      <p:pic>
        <p:nvPicPr>
          <p:cNvPr id="9" name="Picture 8" descr="Screenshot of a shared‑space management system showing a table of room records at the top and allocation details below. Highlighted callout labels mark sections 1, 2, 3, and 4.">
            <a:extLst>
              <a:ext uri="{FF2B5EF4-FFF2-40B4-BE49-F238E27FC236}">
                <a16:creationId xmlns:a16="http://schemas.microsoft.com/office/drawing/2014/main" id="{F0202139-B2F9-12B0-2653-81671CB334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9056" y="1363351"/>
            <a:ext cx="10899059" cy="5183768"/>
          </a:xfrm>
          <a:prstGeom prst="rect">
            <a:avLst/>
          </a:prstGeom>
        </p:spPr>
      </p:pic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1F290B69-CE8C-AE50-F41C-07A1F4A8A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35365" y="1243103"/>
            <a:ext cx="462337" cy="240496"/>
          </a:xfrm>
          <a:prstGeom prst="wedgeRectCallou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2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53EECA69-B604-A203-AAC2-B450E43D78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668030" y="2854434"/>
            <a:ext cx="462337" cy="240496"/>
          </a:xfrm>
          <a:prstGeom prst="wedgeRectCallout">
            <a:avLst>
              <a:gd name="adj1" fmla="val -60833"/>
              <a:gd name="adj2" fmla="val -14397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3</a:t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70873968-D439-F603-E727-23D5EB7EED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48379" y="4691796"/>
            <a:ext cx="462337" cy="240496"/>
          </a:xfrm>
          <a:prstGeom prst="wedgeRectCallou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4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7D8AFD3C-05B5-918E-318A-5F150567F4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34210" y="1372200"/>
            <a:ext cx="462337" cy="240496"/>
          </a:xfrm>
          <a:prstGeom prst="wedgeRectCallout">
            <a:avLst>
              <a:gd name="adj1" fmla="val -60833"/>
              <a:gd name="adj2" fmla="val -22941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38727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9D2C54-5C64-666F-B6F7-0493949F90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642CF82D-7C11-3343-4C28-9DB9DBC0DA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28327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642CF82D-7C11-3343-4C28-9DB9DBC0DAD3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F1E632B4-AFFC-1EAD-0BD3-4341FE5D97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3" name="TextBox 34">
            <a:extLst>
              <a:ext uri="{FF2B5EF4-FFF2-40B4-BE49-F238E27FC236}">
                <a16:creationId xmlns:a16="http://schemas.microsoft.com/office/drawing/2014/main" id="{2CB79750-D0E7-9D9E-230E-05A1C5009AE4}"/>
              </a:ext>
            </a:extLst>
          </p:cNvPr>
          <p:cNvSpPr txBox="1"/>
          <p:nvPr/>
        </p:nvSpPr>
        <p:spPr>
          <a:xfrm>
            <a:off x="829601" y="382864"/>
            <a:ext cx="8546204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083527DE-B87C-42F4-BB25-4A371B1A6081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2006E"/>
                </a:solidFill>
                <a:effectLst/>
                <a:uLnTx/>
                <a:uFillTx/>
                <a:latin typeface="Uni Sans"/>
                <a:ea typeface="+mn-ea"/>
                <a:cs typeface="+mn-cs"/>
              </a:rPr>
              <a:t>Integrated Reporting – Reports built into the application for easy access.</a:t>
            </a:r>
          </a:p>
        </p:txBody>
      </p:sp>
      <p:pic>
        <p:nvPicPr>
          <p:cNvPr id="10" name="Picture 9" descr="Screenshot of a facility information report interface with a left navigation menu, a toolbar at the top, filter options on the left, and a facility data table on the right. Four callout labels mark sections 1, 2, 3, and 4.">
            <a:extLst>
              <a:ext uri="{FF2B5EF4-FFF2-40B4-BE49-F238E27FC236}">
                <a16:creationId xmlns:a16="http://schemas.microsoft.com/office/drawing/2014/main" id="{D32B72AD-F08B-688C-9F29-190CB1157A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9056" y="1372200"/>
            <a:ext cx="10899059" cy="5372616"/>
          </a:xfrm>
          <a:prstGeom prst="rect">
            <a:avLst/>
          </a:prstGeom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4FD33974-1B58-399F-C1F3-3A10ECC50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821033" y="1452653"/>
            <a:ext cx="462337" cy="240496"/>
          </a:xfrm>
          <a:prstGeom prst="wedgeRectCallou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2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D6741FCE-F568-8A35-CE53-918CB6B691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29030" y="2759184"/>
            <a:ext cx="462337" cy="240496"/>
          </a:xfrm>
          <a:prstGeom prst="wedgeRectCallout">
            <a:avLst>
              <a:gd name="adj1" fmla="val -60833"/>
              <a:gd name="adj2" fmla="val -14397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3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DEE48F50-2707-7CAE-769F-4A6842FFB0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088698" y="1693149"/>
            <a:ext cx="462337" cy="240496"/>
          </a:xfrm>
          <a:prstGeom prst="wedgeRectCallout">
            <a:avLst>
              <a:gd name="adj1" fmla="val -59290"/>
              <a:gd name="adj2" fmla="val 22894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4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C96A654A-0445-4F80-B5B5-5907037853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74529" y="1769223"/>
            <a:ext cx="462337" cy="240496"/>
          </a:xfrm>
          <a:prstGeom prst="wedgeRectCallout">
            <a:avLst>
              <a:gd name="adj1" fmla="val -62893"/>
              <a:gd name="adj2" fmla="val 20625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14870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 animBg="1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0A6677-A079-09E4-2471-F45D18A2C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">
            <a:extLst>
              <a:ext uri="{FF2B5EF4-FFF2-40B4-BE49-F238E27FC236}">
                <a16:creationId xmlns:a16="http://schemas.microsoft.com/office/drawing/2014/main" id="{C3CFA59A-9D99-361C-E955-B8A54ADB56BB}"/>
              </a:ext>
            </a:extLst>
          </p:cNvPr>
          <p:cNvSpPr txBox="1"/>
          <p:nvPr/>
        </p:nvSpPr>
        <p:spPr>
          <a:xfrm>
            <a:off x="758595" y="380923"/>
            <a:ext cx="9466419" cy="4924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Resources &amp; Access Requirements</a:t>
            </a:r>
          </a:p>
        </p:txBody>
      </p:sp>
      <p:sp>
        <p:nvSpPr>
          <p:cNvPr id="2" name="Freeform 3">
            <a:extLst>
              <a:ext uri="{FF2B5EF4-FFF2-40B4-BE49-F238E27FC236}">
                <a16:creationId xmlns:a16="http://schemas.microsoft.com/office/drawing/2014/main" id="{3C39EB23-6875-A9F7-4583-1BEAEEA14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60">
            <a:extLst>
              <a:ext uri="{FF2B5EF4-FFF2-40B4-BE49-F238E27FC236}">
                <a16:creationId xmlns:a16="http://schemas.microsoft.com/office/drawing/2014/main" id="{01FECEF1-81AB-5A30-B619-32C0F364C395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2006E"/>
                </a:solidFill>
                <a:effectLst/>
                <a:uLnTx/>
                <a:uFillTx/>
                <a:latin typeface="Uni Sans"/>
                <a:ea typeface="+mn-ea"/>
                <a:cs typeface="+mn-cs"/>
              </a:rPr>
              <a:t>Training completion is required to gain access to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2006E"/>
                </a:solidFill>
                <a:effectLst/>
                <a:uLnTx/>
                <a:uFillTx/>
                <a:latin typeface="Uni Sans"/>
                <a:ea typeface="+mn-ea"/>
                <a:cs typeface="+mn-cs"/>
              </a:rPr>
              <a:t>FM:System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2006E"/>
                </a:solidFill>
                <a:effectLst/>
                <a:uLnTx/>
                <a:uFillTx/>
                <a:latin typeface="Uni Sans"/>
                <a:ea typeface="+mn-ea"/>
                <a:cs typeface="+mn-cs"/>
              </a:rPr>
              <a:t> (FMS).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84DFEA0-8606-F9C5-5BF5-D3412DA0A04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38151" y="2095499"/>
            <a:ext cx="7172324" cy="3218721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60963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IS MANDATORY</a:t>
            </a:r>
          </a:p>
        </p:txBody>
      </p:sp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42CAF802-8821-8A0B-534F-C809F15B2C0F}"/>
              </a:ext>
            </a:extLst>
          </p:cNvPr>
          <p:cNvSpPr txBox="1">
            <a:spLocks/>
          </p:cNvSpPr>
          <p:nvPr/>
        </p:nvSpPr>
        <p:spPr>
          <a:xfrm>
            <a:off x="758595" y="2804731"/>
            <a:ext cx="6680892" cy="248855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u="sng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 Exceptions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Access will be provisioned after users pass all required training modules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u="sng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y this Matters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1600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M:Systems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troduces new technology and redesigned workflows.  Proper training is essential to ensure data integrity.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u="sng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Format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Microlearning videos with text alternatives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u="sng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Location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uw.bridgeapp.com/learner/courses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DE2C3A1-49BE-89ED-7D4A-231C3630959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759930" y="2095499"/>
            <a:ext cx="4110857" cy="3197787"/>
          </a:xfrm>
          <a:prstGeom prst="roundRect">
            <a:avLst/>
          </a:prstGeom>
          <a:solidFill>
            <a:srgbClr val="32006E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DITIONAL RESOURCES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006D0AF-D310-5C1F-1BA0-BEC5AE8B76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1208448"/>
              </p:ext>
            </p:extLst>
          </p:nvPr>
        </p:nvGraphicFramePr>
        <p:xfrm>
          <a:off x="8025414" y="2619644"/>
          <a:ext cx="3650919" cy="2971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50919">
                  <a:extLst>
                    <a:ext uri="{9D8B030D-6E8A-4147-A177-3AD203B41FA5}">
                      <a16:colId xmlns:a16="http://schemas.microsoft.com/office/drawing/2014/main" val="1098793455"/>
                    </a:ext>
                  </a:extLst>
                </a:gridCol>
              </a:tblGrid>
              <a:tr h="2673641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he following are available on the Space Manager </a:t>
                      </a:r>
                      <a:r>
                        <a:rPr lang="en-US" sz="16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rvice page</a:t>
                      </a:r>
                      <a:r>
                        <a:rPr lang="en-US" sz="16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:</a:t>
                      </a:r>
                    </a:p>
                    <a:p>
                      <a:pPr marL="0" indent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6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ink to </a:t>
                      </a:r>
                      <a:r>
                        <a:rPr lang="en-US" sz="1600" b="0" i="0" kern="1200" dirty="0" err="1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M:Systems</a:t>
                      </a:r>
                      <a:endParaRPr lang="en-US" sz="1600" b="0" i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oom Type Definitions</a:t>
                      </a:r>
                    </a:p>
                    <a:p>
                      <a:pPr marL="28575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upport (job aids, contacts, etc.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raining Videos*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600" b="0" i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*Not a replacement for required training on Bridge</a:t>
                      </a:r>
                      <a:endParaRPr lang="en-US" sz="1100" b="0" i="1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2880802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5479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0C3C99-E396-F9A5-4C82-F465A44412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2">
            <a:extLst>
              <a:ext uri="{FF2B5EF4-FFF2-40B4-BE49-F238E27FC236}">
                <a16:creationId xmlns:a16="http://schemas.microsoft.com/office/drawing/2014/main" id="{25DFD9C5-B2E3-6315-99B8-C5470FE91CB7}"/>
              </a:ext>
            </a:extLst>
          </p:cNvPr>
          <p:cNvSpPr txBox="1"/>
          <p:nvPr/>
        </p:nvSpPr>
        <p:spPr>
          <a:xfrm>
            <a:off x="758595" y="380923"/>
            <a:ext cx="9466419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Resources &amp; Access Requirements</a:t>
            </a:r>
          </a:p>
        </p:txBody>
      </p:sp>
      <p:sp>
        <p:nvSpPr>
          <p:cNvPr id="2" name="TextBox 60">
            <a:extLst>
              <a:ext uri="{FF2B5EF4-FFF2-40B4-BE49-F238E27FC236}">
                <a16:creationId xmlns:a16="http://schemas.microsoft.com/office/drawing/2014/main" id="{8519A955-00E1-CF52-3A6C-7B04D9147643}"/>
              </a:ext>
            </a:extLst>
          </p:cNvPr>
          <p:cNvSpPr txBox="1"/>
          <p:nvPr/>
        </p:nvSpPr>
        <p:spPr>
          <a:xfrm>
            <a:off x="829057" y="999745"/>
            <a:ext cx="8245716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/>
            <a:r>
              <a:rPr lang="en-US" sz="1600" dirty="0">
                <a:solidFill>
                  <a:srgbClr val="32006E"/>
                </a:solidFill>
                <a:latin typeface="Uni Sans"/>
              </a:rPr>
              <a:t>Training modules are tailored to your role.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551897D-DD72-8D85-E40A-FBEE5864DF29}"/>
              </a:ext>
            </a:extLst>
          </p:cNvPr>
          <p:cNvSpPr/>
          <p:nvPr/>
        </p:nvSpPr>
        <p:spPr>
          <a:xfrm>
            <a:off x="447675" y="1588866"/>
            <a:ext cx="11277600" cy="4948727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09630" fontAlgn="ctr">
              <a:defRPr/>
            </a:pPr>
            <a:r>
              <a:rPr lang="en-US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CURRICULUM</a:t>
            </a:r>
          </a:p>
          <a:p>
            <a:pPr lvl="0" algn="ctr" defTabSz="609630" fontAlgn="ctr">
              <a:defRPr/>
            </a:pPr>
            <a:endParaRPr lang="en-US" sz="1400" u="sng" dirty="0">
              <a:solidFill>
                <a:srgbClr val="32006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D7E94BDC-19EA-3CCE-6CEE-B07AD6340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695952" y="310882"/>
            <a:ext cx="1496048" cy="1009153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E5747A8-1C28-98A6-11CE-EBC6CEAFB7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616327"/>
              </p:ext>
            </p:extLst>
          </p:nvPr>
        </p:nvGraphicFramePr>
        <p:xfrm>
          <a:off x="1864110" y="2307576"/>
          <a:ext cx="8463780" cy="40174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1260">
                  <a:extLst>
                    <a:ext uri="{9D8B030D-6E8A-4147-A177-3AD203B41FA5}">
                      <a16:colId xmlns:a16="http://schemas.microsoft.com/office/drawing/2014/main" val="1825928934"/>
                    </a:ext>
                  </a:extLst>
                </a:gridCol>
                <a:gridCol w="2821260">
                  <a:extLst>
                    <a:ext uri="{9D8B030D-6E8A-4147-A177-3AD203B41FA5}">
                      <a16:colId xmlns:a16="http://schemas.microsoft.com/office/drawing/2014/main" val="4240622418"/>
                    </a:ext>
                  </a:extLst>
                </a:gridCol>
                <a:gridCol w="2821260">
                  <a:extLst>
                    <a:ext uri="{9D8B030D-6E8A-4147-A177-3AD203B41FA5}">
                      <a16:colId xmlns:a16="http://schemas.microsoft.com/office/drawing/2014/main" val="1586768476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</a:t>
                      </a:r>
                      <a:endParaRPr lang="en-US" sz="1400" b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33867" marT="33867" marB="296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ssigned Roles</a:t>
                      </a:r>
                      <a:endParaRPr lang="en-US" sz="1400" b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33867" marT="33867" marB="2963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ficiency Level</a:t>
                      </a:r>
                    </a:p>
                  </a:txBody>
                  <a:tcPr marL="50800" marR="33867" marT="33867" marB="2963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41014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1: Getting Started 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 Roles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52570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2: Viewing Space Data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 Roles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586045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3: Floorplan Interaction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 Roles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2599329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4:  Reporting &amp; Analysis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 Roles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 / Intermediate / Advanced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096896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5: Editing Space Information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 Admin, Dept Admin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termediate / Advanced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0791760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6: Research Space Tracking 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 Admin, Dept Admin 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termediate / Advanced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39574"/>
                  </a:ext>
                </a:extLst>
              </a:tr>
              <a:tr h="507153">
                <a:tc gridSpan="3">
                  <a:txBody>
                    <a:bodyPr/>
                    <a:lstStyle/>
                    <a:p>
                      <a:pPr marL="0" indent="0" defTabSz="60963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u="sng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finitions</a:t>
                      </a:r>
                    </a:p>
                    <a:p>
                      <a:pPr marL="174625" indent="-174625" defTabSz="60963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 = </a:t>
                      </a:r>
                      <a:r>
                        <a:rPr lang="en-US" sz="1100" i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iew-only tasks 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e.g., navigating, searching, viewing records, interpreting floorplans) and </a:t>
                      </a:r>
                      <a:r>
                        <a:rPr lang="en-US" sz="1100" i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me roles may view reports.</a:t>
                      </a:r>
                      <a:endParaRPr lang="en-US" sz="11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90510" indent="-190510" defTabSz="60963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termediate / Advanced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 = </a:t>
                      </a:r>
                      <a:r>
                        <a:rPr lang="en-US" sz="1100" i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iew + Edit + Reporting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(e.g., editing space data, managing allocations, running reports)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en-US" sz="1100" b="0" kern="120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en-US" sz="1100" b="0" kern="120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66793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2721BB7-66CC-B7EE-ADD0-0022FEF613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16200000">
            <a:off x="13023" y="3462658"/>
            <a:ext cx="18416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3D3D3D"/>
                </a:solidFill>
                <a:effectLst/>
                <a:latin typeface="Open Sans" panose="020B0606030504020204" pitchFamily="34" charset="0"/>
              </a:rPr>
              <a:t>Getting Started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4D3FD0-61F6-C74F-A4DF-6E658915B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16200000">
            <a:off x="115764" y="4926073"/>
            <a:ext cx="16361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i="0" dirty="0">
                <a:solidFill>
                  <a:srgbClr val="3D3D3D"/>
                </a:solidFill>
                <a:effectLst/>
                <a:latin typeface="Open Sans" panose="020B0606030504020204" pitchFamily="34" charset="0"/>
              </a:rPr>
              <a:t>Managing Space Data</a:t>
            </a:r>
            <a:endParaRPr lang="en-US" dirty="0"/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C901B5E5-9BC2-B386-305B-036DFB0F65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10439" y="2726502"/>
            <a:ext cx="577264" cy="1927691"/>
          </a:xfrm>
          <a:prstGeom prst="leftBrace">
            <a:avLst/>
          </a:prstGeom>
          <a:noFill/>
          <a:ln w="38100">
            <a:solidFill>
              <a:srgbClr val="3200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id="{6579BE2F-03D2-1370-6D26-2FE3F8F754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8081" y="4792690"/>
            <a:ext cx="577264" cy="847822"/>
          </a:xfrm>
          <a:prstGeom prst="leftBrace">
            <a:avLst/>
          </a:prstGeom>
          <a:noFill/>
          <a:ln w="38100">
            <a:solidFill>
              <a:srgbClr val="3200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098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Custom 5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Custom Design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UW Brand-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19cbde4-65be-46fa-b450-73a5f66fd14e">
      <Terms xmlns="http://schemas.microsoft.com/office/infopath/2007/PartnerControls"/>
    </lcf76f155ced4ddcb4097134ff3c332f>
    <TaxCatchAll xmlns="1d5b3db5-d07c-460b-b875-ff5b6ab434e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08029719A8E14D805D87FE9D5DD0A9" ma:contentTypeVersion="15" ma:contentTypeDescription="Create a new document." ma:contentTypeScope="" ma:versionID="f306059fd50b61138863d30efd1119a3">
  <xsd:schema xmlns:xsd="http://www.w3.org/2001/XMLSchema" xmlns:xs="http://www.w3.org/2001/XMLSchema" xmlns:p="http://schemas.microsoft.com/office/2006/metadata/properties" xmlns:ns2="1d5b3db5-d07c-460b-b875-ff5b6ab434e8" xmlns:ns3="719cbde4-65be-46fa-b450-73a5f66fd14e" targetNamespace="http://schemas.microsoft.com/office/2006/metadata/properties" ma:root="true" ma:fieldsID="66ac2b0dfd8a64077a553897038db80c" ns2:_="" ns3:_="">
    <xsd:import namespace="1d5b3db5-d07c-460b-b875-ff5b6ab434e8"/>
    <xsd:import namespace="719cbde4-65be-46fa-b450-73a5f66fd14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bjectDetectorVersions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5b3db5-d07c-460b-b875-ff5b6ab434e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ca592a8-9422-48ed-b826-5bcefd527270}" ma:internalName="TaxCatchAll" ma:showField="CatchAllData" ma:web="1d5b3db5-d07c-460b-b875-ff5b6ab434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9cbde4-65be-46fa-b450-73a5f66fd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20148b9-20a4-48a0-acba-ba52d68a37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18EE0F-15C4-46AB-B2C8-2C096081F6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7DE272D-BF50-4CC9-8AAA-BD9C1B561884}">
  <ds:schemaRefs>
    <ds:schemaRef ds:uri="http://purl.org/dc/elements/1.1/"/>
    <ds:schemaRef ds:uri="http://schemas.microsoft.com/office/2006/documentManagement/types"/>
    <ds:schemaRef ds:uri="http://purl.org/dc/dcmitype/"/>
    <ds:schemaRef ds:uri="a6a37a70-c3b3-4202-b731-46f1cce48aac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de561f96-94c5-4b42-ba29-f1fce2391379"/>
    <ds:schemaRef ds:uri="http://www.w3.org/XML/1998/namespace"/>
    <ds:schemaRef ds:uri="http://purl.org/dc/terms/"/>
    <ds:schemaRef ds:uri="719cbde4-65be-46fa-b450-73a5f66fd14e"/>
    <ds:schemaRef ds:uri="1d5b3db5-d07c-460b-b875-ff5b6ab434e8"/>
  </ds:schemaRefs>
</ds:datastoreItem>
</file>

<file path=customXml/itemProps3.xml><?xml version="1.0" encoding="utf-8"?>
<ds:datastoreItem xmlns:ds="http://schemas.openxmlformats.org/officeDocument/2006/customXml" ds:itemID="{8BDD7298-5D46-4E35-9075-41E770EEE0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5b3db5-d07c-460b-b875-ff5b6ab434e8"/>
    <ds:schemaRef ds:uri="719cbde4-65be-46fa-b450-73a5f66fd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426f8eb-43e7-4c1b-b7a5-a0a324bdadda}" enabled="1" method="Privileged" siteId="{f6b6dd5b-f02f-441a-99a0-162ac5060bd2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638</TotalTime>
  <Words>722</Words>
  <Application>Microsoft Office PowerPoint</Application>
  <PresentationFormat>Widescreen</PresentationFormat>
  <Paragraphs>175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5" baseType="lpstr">
      <vt:lpstr>Lucida Grande</vt:lpstr>
      <vt:lpstr>Aptos</vt:lpstr>
      <vt:lpstr>Arial</vt:lpstr>
      <vt:lpstr>Calibri</vt:lpstr>
      <vt:lpstr>Encode Sans Normal Black</vt:lpstr>
      <vt:lpstr>Garamond</vt:lpstr>
      <vt:lpstr>Open Sans</vt:lpstr>
      <vt:lpstr>Open Sans Light</vt:lpstr>
      <vt:lpstr>Uni Sans</vt:lpstr>
      <vt:lpstr>Uni Sans Regular</vt:lpstr>
      <vt:lpstr>1_Office Theme</vt:lpstr>
      <vt:lpstr>1_Custom Design</vt:lpstr>
      <vt:lpstr>2_Custom Design</vt:lpstr>
      <vt:lpstr>think-cell Slide</vt:lpstr>
      <vt:lpstr>InVision Replacement  Private Business Use (PBU) Training 202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aMonte McGraw</dc:creator>
  <cp:lastModifiedBy>Daniela Choto</cp:lastModifiedBy>
  <cp:revision>6</cp:revision>
  <dcterms:created xsi:type="dcterms:W3CDTF">2025-04-11T18:02:19Z</dcterms:created>
  <dcterms:modified xsi:type="dcterms:W3CDTF">2026-06-09T22:3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08029719A8E14D805D87FE9D5DD0A9</vt:lpwstr>
  </property>
  <property fmtid="{D5CDD505-2E9C-101B-9397-08002B2CF9AE}" pid="3" name="MediaServiceImageTags">
    <vt:lpwstr/>
  </property>
</Properties>
</file>